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888" r:id="rId1"/>
    <p:sldMasterId id="2147483788" r:id="rId2"/>
    <p:sldMasterId id="2147483808" r:id="rId3"/>
    <p:sldMasterId id="2147483828" r:id="rId4"/>
    <p:sldMasterId id="2147483848" r:id="rId5"/>
    <p:sldMasterId id="2147483868" r:id="rId6"/>
  </p:sldMasterIdLst>
  <p:sldIdLst>
    <p:sldId id="263" r:id="rId7"/>
    <p:sldId id="257" r:id="rId8"/>
    <p:sldId id="258" r:id="rId9"/>
    <p:sldId id="259" r:id="rId10"/>
    <p:sldId id="260" r:id="rId11"/>
    <p:sldId id="261" r:id="rId12"/>
    <p:sldId id="262" r:id="rId13"/>
  </p:sldIdLst>
  <p:sldSz cx="12192000" cy="6858000"/>
  <p:notesSz cx="6858000" cy="9144000"/>
  <p:embeddedFontLst>
    <p:embeddedFont>
      <p:font typeface="Credit Suisse Headline" panose="020B0504030101020102" charset="0"/>
      <p:regular r:id="rId14"/>
      <p:bold r:id="rId15"/>
    </p:embeddedFont>
    <p:embeddedFont>
      <p:font typeface="Credit Suisse Type Light" panose="020B0703040503020204" charset="0"/>
      <p:regular r:id="rId16"/>
      <p:bold r:id="rId17"/>
      <p:italic r:id="rId18"/>
    </p:embeddedFont>
    <p:embeddedFont>
      <p:font typeface="Credit Suisse Type Roman" panose="020B0A03040503020204" charset="0"/>
      <p:regular r:id="rId19"/>
      <p:bold r:id="rId2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49">
          <p15:clr>
            <a:srgbClr val="A4A3A4"/>
          </p15:clr>
        </p15:guide>
        <p15:guide id="2" pos="3908">
          <p15:clr>
            <a:srgbClr val="A4A3A4"/>
          </p15:clr>
        </p15:guide>
        <p15:guide id="3" orient="horz" pos="3793">
          <p15:clr>
            <a:srgbClr val="A4A3A4"/>
          </p15:clr>
        </p15:guide>
        <p15:guide id="4" pos="3772">
          <p15:clr>
            <a:srgbClr val="A4A3A4"/>
          </p15:clr>
        </p15:guide>
        <p15:guide id="5" pos="143">
          <p15:clr>
            <a:srgbClr val="A4A3A4"/>
          </p15:clr>
        </p15:guide>
        <p15:guide id="6" pos="75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35" autoAdjust="0"/>
    <p:restoredTop sz="94660"/>
  </p:normalViewPr>
  <p:slideViewPr>
    <p:cSldViewPr snapToGrid="0" showGuides="1">
      <p:cViewPr varScale="1">
        <p:scale>
          <a:sx n="55" d="100"/>
          <a:sy n="55" d="100"/>
        </p:scale>
        <p:origin x="758" y="53"/>
      </p:cViewPr>
      <p:guideLst>
        <p:guide orient="horz" pos="1049"/>
        <p:guide pos="3908"/>
        <p:guide orient="horz" pos="3793"/>
        <p:guide pos="3772"/>
        <p:guide pos="143"/>
        <p:guide pos="753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font" Target="fonts/font5.fntdata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font" Target="fonts/font4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font" Target="fonts/font2.fntdata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font" Target="fonts/font6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font" Target="fonts/font1.fntdata"/><Relationship Id="rId22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A7BBD4"/>
              </a:gs>
              <a:gs pos="100000">
                <a:srgbClr val="D7E4F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BB2C3296-6748-4658-9068-DDA715E120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482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D7E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174996298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F7DD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175552921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42016882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309634556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852776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F7DD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4215560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8334417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784505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184586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40853420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37484442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1889353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292364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D7E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3728499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0520195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630178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157277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6890675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C5C6CF"/>
              </a:gs>
              <a:gs pos="100000">
                <a:srgbClr val="E1E2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BB2C3296-6748-4658-9068-DDA715E120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4391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A7BBD4"/>
              </a:gs>
              <a:gs pos="100000">
                <a:srgbClr val="D7E4F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03964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C5C6CF"/>
              </a:gs>
              <a:gs pos="100000">
                <a:srgbClr val="E1E2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69483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C5C6CF"/>
              </a:gs>
              <a:gs pos="100000">
                <a:srgbClr val="E1E2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7731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9608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4885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358B27E-FB3F-41D5-92D8-EE8674AEF6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8066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27480283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5C6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39285759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16276494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E1E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13358650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8338492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A7BBD4"/>
              </a:gs>
              <a:gs pos="100000">
                <a:srgbClr val="D7E4F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0250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5705428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3168209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E1E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6343654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4725550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864000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755667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4035302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B7CCC0"/>
              </a:gs>
              <a:gs pos="100000">
                <a:srgbClr val="DAE6D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BB2C3296-6748-4658-9068-DDA715E120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9471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B7CCC0"/>
              </a:gs>
              <a:gs pos="100000">
                <a:srgbClr val="DAE6D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030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B7CCC0"/>
              </a:gs>
              <a:gs pos="100000">
                <a:srgbClr val="DAE6D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4571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8902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1771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3367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358B27E-FB3F-41D5-92D8-EE8674AEF6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6311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23628520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B7CC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381715811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122985999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DAE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403857566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3968662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32354520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40627552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9466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DAE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2661441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5142795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879565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282250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97920492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5D2AF"/>
              </a:gs>
              <a:gs pos="100000">
                <a:srgbClr val="EDE1C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BB2C3296-6748-4658-9068-DDA715E120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9220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5D2AF"/>
              </a:gs>
              <a:gs pos="100000">
                <a:srgbClr val="EDE1C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25143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5D2AF"/>
              </a:gs>
              <a:gs pos="100000">
                <a:srgbClr val="EDE1C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88643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46808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9744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358B27E-FB3F-41D5-92D8-EE8674AEF6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5637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358B27E-FB3F-41D5-92D8-EE8674AEF6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89688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82048446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E5D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167662621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357228790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EDE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277347005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35820308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54058532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22867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EDE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6590291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5701013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50536297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052467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811589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61577005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6BDAB"/>
              </a:gs>
              <a:gs pos="100000">
                <a:srgbClr val="F3DFD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BB2C3296-6748-4658-9068-DDA715E120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66574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6BDAB"/>
              </a:gs>
              <a:gs pos="100000">
                <a:srgbClr val="F3DFD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92569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6BDAB"/>
              </a:gs>
              <a:gs pos="100000">
                <a:srgbClr val="F3DFD4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91501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991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18885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358B27E-FB3F-41D5-92D8-EE8674AEF6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7324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23931384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A7BB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419570641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E6BD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370341011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253938572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(subpoi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4B0B860-97E1-4E48-AF47-5ECE2C8E2E4A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688632 h 5796644"/>
              <a:gd name="connsiteX6" fmla="*/ 9072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5220580 h 5796644"/>
              <a:gd name="connsiteX10" fmla="*/ 0 w 11736000"/>
              <a:gd name="connsiteY10" fmla="*/ 1877957 h 5796644"/>
              <a:gd name="connsiteX11" fmla="*/ 540060 w 11736000"/>
              <a:gd name="connsiteY11" fmla="*/ 1877957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3008 w 11736000"/>
              <a:gd name="connsiteY4" fmla="*/ 5688632 h 5796644"/>
              <a:gd name="connsiteX5" fmla="*/ 9072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5220580 h 5796644"/>
              <a:gd name="connsiteX9" fmla="*/ 0 w 11736000"/>
              <a:gd name="connsiteY9" fmla="*/ 1877957 h 5796644"/>
              <a:gd name="connsiteX10" fmla="*/ 540060 w 11736000"/>
              <a:gd name="connsiteY10" fmla="*/ 1877957 h 5796644"/>
              <a:gd name="connsiteX11" fmla="*/ 540060 w 11736000"/>
              <a:gd name="connsiteY11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5220580 h 5796644"/>
              <a:gd name="connsiteX8" fmla="*/ 0 w 11736000"/>
              <a:gd name="connsiteY8" fmla="*/ 1877957 h 5796644"/>
              <a:gd name="connsiteX9" fmla="*/ 540060 w 11736000"/>
              <a:gd name="connsiteY9" fmla="*/ 1877957 h 5796644"/>
              <a:gd name="connsiteX10" fmla="*/ 540060 w 11736000"/>
              <a:gd name="connsiteY10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220580 h 5796644"/>
              <a:gd name="connsiteX7" fmla="*/ 0 w 11736000"/>
              <a:gd name="connsiteY7" fmla="*/ 1877957 h 5796644"/>
              <a:gd name="connsiteX8" fmla="*/ 540060 w 11736000"/>
              <a:gd name="connsiteY8" fmla="*/ 1877957 h 5796644"/>
              <a:gd name="connsiteX9" fmla="*/ 540060 w 11736000"/>
              <a:gd name="connsiteY9" fmla="*/ 0 h 5796644"/>
              <a:gd name="connsiteX0" fmla="*/ 540060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608512 h 5796644"/>
              <a:gd name="connsiteX3" fmla="*/ 9073008 w 11736000"/>
              <a:gd name="connsiteY3" fmla="*/ 4608512 h 5796644"/>
              <a:gd name="connsiteX4" fmla="*/ 9072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1877957 h 5796644"/>
              <a:gd name="connsiteX7" fmla="*/ 540060 w 11736000"/>
              <a:gd name="connsiteY7" fmla="*/ 1877957 h 5796644"/>
              <a:gd name="connsiteX8" fmla="*/ 540060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540060" y="0"/>
                </a:moveTo>
                <a:lnTo>
                  <a:pt x="11736000" y="0"/>
                </a:lnTo>
                <a:lnTo>
                  <a:pt x="11736000" y="4608512"/>
                </a:lnTo>
                <a:lnTo>
                  <a:pt x="9073008" y="4608512"/>
                </a:lnTo>
                <a:lnTo>
                  <a:pt x="9072000" y="5796644"/>
                </a:lnTo>
                <a:lnTo>
                  <a:pt x="0" y="5796644"/>
                </a:lnTo>
                <a:lnTo>
                  <a:pt x="0" y="1877957"/>
                </a:lnTo>
                <a:lnTo>
                  <a:pt x="540060" y="1877957"/>
                </a:lnTo>
                <a:lnTo>
                  <a:pt x="540060" y="0"/>
                </a:lnTo>
                <a:close/>
              </a:path>
            </a:pathLst>
          </a:custGeom>
          <a:solidFill>
            <a:srgbClr val="F3DF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1736812"/>
            <a:ext cx="9540000" cy="470898"/>
          </a:xfrm>
        </p:spPr>
        <p:txBody>
          <a:bodyPr vert="horz" anchor="t"/>
          <a:lstStyle>
            <a:lvl1pPr>
              <a:defRPr sz="3400"/>
            </a:lvl1pPr>
          </a:lstStyle>
          <a:p>
            <a:r>
              <a:rPr lang="en-US" noProof="0" dirty="0"/>
              <a:t>Click to edit chapter subpoint</a:t>
            </a:r>
          </a:p>
        </p:txBody>
      </p:sp>
    </p:spTree>
    <p:extLst>
      <p:ext uri="{BB962C8B-B14F-4D97-AF65-F5344CB8AC3E}">
        <p14:creationId xmlns:p14="http://schemas.microsoft.com/office/powerpoint/2010/main" val="257974631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11736000" cy="4356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16894037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4012" y="1664804"/>
            <a:ext cx="576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235090852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1664804"/>
            <a:ext cx="3780000" cy="4356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</p:spTree>
    <p:extLst>
      <p:ext uri="{BB962C8B-B14F-4D97-AF65-F5344CB8AC3E}">
        <p14:creationId xmlns:p14="http://schemas.microsoft.com/office/powerpoint/2010/main" val="1797424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3941FEE-12D0-4301-BC5C-B2AD93E102BB}"/>
              </a:ext>
            </a:extLst>
          </p:cNvPr>
          <p:cNvSpPr/>
          <p:nvPr/>
        </p:nvSpPr>
        <p:spPr bwMode="gray">
          <a:xfrm>
            <a:off x="227348" y="1448780"/>
            <a:ext cx="11736000" cy="4572000"/>
          </a:xfrm>
          <a:prstGeom prst="rect">
            <a:avLst/>
          </a:prstGeom>
          <a:solidFill>
            <a:srgbClr val="F3DF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216000" rIns="108000" bIns="21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8230602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One text column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664804"/>
            <a:ext cx="5760000" cy="4356000"/>
          </a:xfrm>
        </p:spPr>
        <p:txBody>
          <a:bodyPr lIns="0" rIns="10800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2" name="Picture Placeholder 38">
            <a:extLst>
              <a:ext uri="{FF2B5EF4-FFF2-40B4-BE49-F238E27FC236}">
                <a16:creationId xmlns:a16="http://schemas.microsoft.com/office/drawing/2014/main" id="{719B9B37-7982-49E2-BE4D-9CBF4FCF24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096000" y="1448780"/>
            <a:ext cx="5868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1034350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wo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7" y="1664804"/>
            <a:ext cx="3780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050283F-AA6E-467A-B7F1-94C34E5D4D8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1664804"/>
            <a:ext cx="3744000" cy="4356000"/>
          </a:xfrm>
        </p:spPr>
        <p:txBody>
          <a:bodyPr lIns="0" rIns="0" bIns="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69051D0B-3FCC-4D48-8087-C71E10FA7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184232" y="1448780"/>
            <a:ext cx="3780000" cy="45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661827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661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hree text column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17E0C3-E439-4883-8D27-42B42A5CCE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FABF34F-DEF9-40F2-9AF6-4F478F59C9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23792" y="3717032"/>
            <a:ext cx="3744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C7F22C4-B5A7-45D9-9C9F-3E4CC966B5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84232" y="3717032"/>
            <a:ext cx="3780000" cy="2304000"/>
          </a:xfrm>
        </p:spPr>
        <p:txBody>
          <a:bodyPr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14" name="Picture Placeholder 38">
            <a:extLst>
              <a:ext uri="{FF2B5EF4-FFF2-40B4-BE49-F238E27FC236}">
                <a16:creationId xmlns:a16="http://schemas.microsoft.com/office/drawing/2014/main" id="{653CE5C9-004D-47BC-8A1D-014977EE42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7" name="Picture Placeholder 38">
            <a:extLst>
              <a:ext uri="{FF2B5EF4-FFF2-40B4-BE49-F238E27FC236}">
                <a16:creationId xmlns:a16="http://schemas.microsoft.com/office/drawing/2014/main" id="{05A742C7-80B2-486A-90F8-02A76FC5306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23794" y="1448780"/>
            <a:ext cx="3744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  <p:sp>
        <p:nvSpPr>
          <p:cNvPr id="18" name="Picture Placeholder 38">
            <a:extLst>
              <a:ext uri="{FF2B5EF4-FFF2-40B4-BE49-F238E27FC236}">
                <a16:creationId xmlns:a16="http://schemas.microsoft.com/office/drawing/2014/main" id="{A3414379-7E42-45F0-B47B-9D12E2F5D0B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4232" y="1448780"/>
            <a:ext cx="3780000" cy="187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132237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525">
          <p15:clr>
            <a:srgbClr val="FBAE40"/>
          </p15:clr>
        </p15:guide>
        <p15:guide id="3" pos="5019">
          <p15:clr>
            <a:srgbClr val="FBAE40"/>
          </p15:clr>
        </p15:guide>
        <p15:guide id="4" pos="515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210577686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736000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736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04124029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9">
            <a:extLst>
              <a:ext uri="{FF2B5EF4-FFF2-40B4-BE49-F238E27FC236}">
                <a16:creationId xmlns:a16="http://schemas.microsoft.com/office/drawing/2014/main" id="{BF27BF86-1C59-440E-894C-FA93E0BDB21C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3BEB8"/>
              </a:gs>
              <a:gs pos="100000">
                <a:srgbClr val="F7DDDA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82BFA7C-8CC0-46BD-86F3-9518A7539D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925312" y="697362"/>
            <a:ext cx="6372000" cy="44763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8DF27F43-6147-4006-B141-A88A3644CE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EE0C09F-1761-489F-A154-87B8F84EF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BB2C3296-6748-4658-9068-DDA715E120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845FD22-7A3A-4557-8B9A-AC8987A3EA3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14843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7">
            <a:extLst>
              <a:ext uri="{FF2B5EF4-FFF2-40B4-BE49-F238E27FC236}">
                <a16:creationId xmlns:a16="http://schemas.microsoft.com/office/drawing/2014/main" id="{F1063ACD-2381-41A8-B20A-F2527A5C8863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3BEB8"/>
              </a:gs>
              <a:gs pos="100000">
                <a:srgbClr val="F7DDDA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E62F1C35-8EB3-43FB-AC86-0F8629A096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356CA35-6D04-4E0E-BA9F-B48057E1C379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10214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873C5E77-B7AF-421D-BCE3-ABE852EEC1C5}"/>
              </a:ext>
            </a:extLst>
          </p:cNvPr>
          <p:cNvSpPr/>
          <p:nvPr/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gradFill flip="none" rotWithShape="1">
            <a:gsLst>
              <a:gs pos="1000">
                <a:srgbClr val="E3BEB8"/>
              </a:gs>
              <a:gs pos="100000">
                <a:srgbClr val="F7DDDA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noProof="0"/>
          </a:p>
        </p:txBody>
      </p:sp>
      <p:sp>
        <p:nvSpPr>
          <p:cNvPr id="10" name="Picture Placeholder 38">
            <a:extLst>
              <a:ext uri="{FF2B5EF4-FFF2-40B4-BE49-F238E27FC236}">
                <a16:creationId xmlns:a16="http://schemas.microsoft.com/office/drawing/2014/main" id="{0034B150-7B5F-4F89-994B-8E2AF18CED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312024" y="224644"/>
            <a:ext cx="5651324" cy="6408000"/>
          </a:xfrm>
          <a:custGeom>
            <a:avLst/>
            <a:gdLst>
              <a:gd name="connsiteX0" fmla="*/ 0 w 5651324"/>
              <a:gd name="connsiteY0" fmla="*/ 0 h 6408000"/>
              <a:gd name="connsiteX1" fmla="*/ 5651324 w 5651324"/>
              <a:gd name="connsiteY1" fmla="*/ 0 h 6408000"/>
              <a:gd name="connsiteX2" fmla="*/ 5651324 w 5651324"/>
              <a:gd name="connsiteY2" fmla="*/ 5341097 h 6408000"/>
              <a:gd name="connsiteX3" fmla="*/ 2341176 w 5651324"/>
              <a:gd name="connsiteY3" fmla="*/ 5341097 h 6408000"/>
              <a:gd name="connsiteX4" fmla="*/ 2341176 w 5651324"/>
              <a:gd name="connsiteY4" fmla="*/ 5436604 h 6408000"/>
              <a:gd name="connsiteX5" fmla="*/ 2340260 w 5651324"/>
              <a:gd name="connsiteY5" fmla="*/ 5436604 h 6408000"/>
              <a:gd name="connsiteX6" fmla="*/ 2340260 w 5651324"/>
              <a:gd name="connsiteY6" fmla="*/ 6408000 h 6408000"/>
              <a:gd name="connsiteX7" fmla="*/ 0 w 5651324"/>
              <a:gd name="connsiteY7" fmla="*/ 6408000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51324" h="6408000">
                <a:moveTo>
                  <a:pt x="0" y="0"/>
                </a:moveTo>
                <a:lnTo>
                  <a:pt x="5651324" y="0"/>
                </a:lnTo>
                <a:lnTo>
                  <a:pt x="5651324" y="5341097"/>
                </a:lnTo>
                <a:lnTo>
                  <a:pt x="2341176" y="5341097"/>
                </a:lnTo>
                <a:lnTo>
                  <a:pt x="2341176" y="5436604"/>
                </a:lnTo>
                <a:lnTo>
                  <a:pt x="2340260" y="5436604"/>
                </a:lnTo>
                <a:lnTo>
                  <a:pt x="2340260" y="6408000"/>
                </a:lnTo>
                <a:lnTo>
                  <a:pt x="0" y="640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Add image by clicking on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387659"/>
            <a:ext cx="5040000" cy="1177245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3B8E7ECF-4147-46F0-AA36-F7DCEF8EAA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504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2E9C084F-242A-4BFF-98D5-07EF8BBEAF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DFB5CDCA-C1F6-46D5-8114-EDF8C9050D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3D55BDC-6C00-402B-90AA-F22696F3A647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13768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light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BCCB24D1-1930-4692-BCB4-2D015F3F3B1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o insert a light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4D38C5-1AE2-48F2-B904-368AF1BB919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21740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with dark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14F18E71-29D3-41B6-BF4E-FC779991DD8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dark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bg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88F0433-0C1E-45C4-91D5-A71D1E7489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449309" y="430064"/>
            <a:ext cx="1314450" cy="92233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4DC0D83-60BD-41F0-9FDA-B863EB5234F4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76385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le be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1EA27167-586B-4CD5-9939-5080A6B10A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6408000"/>
          </a:xfrm>
          <a:custGeom>
            <a:avLst/>
            <a:gdLst>
              <a:gd name="connsiteX0" fmla="*/ 396045 w 11736000"/>
              <a:gd name="connsiteY0" fmla="*/ 0 h 6408000"/>
              <a:gd name="connsiteX1" fmla="*/ 11736000 w 11736000"/>
              <a:gd name="connsiteY1" fmla="*/ 0 h 6408000"/>
              <a:gd name="connsiteX2" fmla="*/ 11736000 w 11736000"/>
              <a:gd name="connsiteY2" fmla="*/ 5341097 h 6408000"/>
              <a:gd name="connsiteX3" fmla="*/ 8425852 w 11736000"/>
              <a:gd name="connsiteY3" fmla="*/ 5341097 h 6408000"/>
              <a:gd name="connsiteX4" fmla="*/ 8425852 w 11736000"/>
              <a:gd name="connsiteY4" fmla="*/ 5436604 h 6408000"/>
              <a:gd name="connsiteX5" fmla="*/ 8424936 w 11736000"/>
              <a:gd name="connsiteY5" fmla="*/ 5436604 h 6408000"/>
              <a:gd name="connsiteX6" fmla="*/ 8424936 w 11736000"/>
              <a:gd name="connsiteY6" fmla="*/ 6408000 h 6408000"/>
              <a:gd name="connsiteX7" fmla="*/ 0 w 11736000"/>
              <a:gd name="connsiteY7" fmla="*/ 6408000 h 6408000"/>
              <a:gd name="connsiteX8" fmla="*/ 0 w 11736000"/>
              <a:gd name="connsiteY8" fmla="*/ 2208944 h 6408000"/>
              <a:gd name="connsiteX9" fmla="*/ 396045 w 11736000"/>
              <a:gd name="connsiteY9" fmla="*/ 2208944 h 64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36000" h="6408000">
                <a:moveTo>
                  <a:pt x="396045" y="0"/>
                </a:moveTo>
                <a:lnTo>
                  <a:pt x="11736000" y="0"/>
                </a:lnTo>
                <a:lnTo>
                  <a:pt x="11736000" y="5341097"/>
                </a:lnTo>
                <a:lnTo>
                  <a:pt x="8425852" y="5341097"/>
                </a:lnTo>
                <a:lnTo>
                  <a:pt x="8425852" y="5436604"/>
                </a:lnTo>
                <a:lnTo>
                  <a:pt x="8424936" y="5436604"/>
                </a:lnTo>
                <a:lnTo>
                  <a:pt x="8424936" y="6408000"/>
                </a:lnTo>
                <a:lnTo>
                  <a:pt x="0" y="6408000"/>
                </a:lnTo>
                <a:lnTo>
                  <a:pt x="0" y="2208944"/>
                </a:lnTo>
                <a:lnTo>
                  <a:pt x="396045" y="22089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504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latin typeface="+mn-lt"/>
              </a:defRPr>
            </a:lvl1pPr>
          </a:lstStyle>
          <a:p>
            <a:r>
              <a:rPr lang="en-US" noProof="0" dirty="0"/>
              <a:t>Title bespoke: add your own image with integrated key visual sails (see sample slides)</a:t>
            </a:r>
            <a:br>
              <a:rPr lang="en-US" noProof="0" dirty="0"/>
            </a:br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685FB-CE79-4B9A-ACC6-17DE394CD1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52972" y="1976281"/>
            <a:ext cx="7560000" cy="588623"/>
          </a:xfrm>
        </p:spPr>
        <p:txBody>
          <a:bodyPr vert="horz" anchor="b"/>
          <a:lstStyle>
            <a:lvl1pPr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presentation title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EAEE1AE4-280F-4A7C-A119-34628DD3B1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52972" y="2564904"/>
            <a:ext cx="7560000" cy="523220"/>
          </a:xfrm>
        </p:spPr>
        <p:txBody>
          <a:bodyPr wrap="square">
            <a:sp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Credit Suisse Type Roman" panose="020B0604020202020204" pitchFamily="34" charset="0"/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45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74ACD306-81B6-4126-B756-7A370E30C5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3392" y="4412878"/>
            <a:ext cx="3600000" cy="120032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13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LEGAL ENTITY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Department or author</a:t>
            </a:r>
            <a:br>
              <a:rPr lang="en-US" noProof="0" dirty="0"/>
            </a:br>
            <a:r>
              <a:rPr lang="en-US" noProof="0" dirty="0"/>
              <a:t>Month Day, Year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assification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8358B27E-FB3F-41D5-92D8-EE8674AEF6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-24680" y="-36004"/>
            <a:ext cx="0" cy="0"/>
          </a:xfrm>
          <a:noFill/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00" b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>
                <a:noFill/>
                <a:latin typeface="+mn-lt"/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6D35AF-E7A7-466A-A68A-C4638C2440DF}"/>
              </a:ext>
            </a:extLst>
          </p:cNvPr>
          <p:cNvSpPr>
            <a:spLocks noChangeAspect="1"/>
          </p:cNvSpPr>
          <p:nvPr userDrawn="1"/>
        </p:nvSpPr>
        <p:spPr>
          <a:xfrm>
            <a:off x="9106784" y="5988842"/>
            <a:ext cx="2635567" cy="352864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80542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EA425-2CB2-4541-BE1A-E404341F7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348" y="188640"/>
            <a:ext cx="11521616" cy="4431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944865-6B1B-4E0F-AC90-7790022258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Legal Entity, department or author | Month Day, Year (Click Insert |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0295B9-0563-4351-B190-BCDD282037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F6C2A9E6-04AB-42AC-810B-3C3B9DEF2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348" y="631838"/>
            <a:ext cx="1152000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2pPr>
            <a:lvl3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3pPr>
            <a:lvl4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4pPr>
            <a:lvl5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5pPr>
            <a:lvl6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6pPr>
            <a:lvl7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7pPr>
            <a:lvl8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8pPr>
            <a:lvl9pPr marL="0" indent="0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Credit Suisse Type Light" panose="020B0303040503020204" pitchFamily="34" charset="0"/>
              </a:defRPr>
            </a:lvl9pPr>
          </a:lstStyle>
          <a:p>
            <a:pPr lvl="0"/>
            <a:r>
              <a:rPr lang="en-US" noProof="0" dirty="0"/>
              <a:t>Click to edit subtitle (optional)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5DD2651-0151-430C-B119-007B62690C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7348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1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C09DC8B0-57A1-4F3A-BDDA-77B9AF0DE0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7E436937-FEE7-4E3B-B2ED-EA8C59C28E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19" name="Text Placeholder 20">
            <a:extLst>
              <a:ext uri="{FF2B5EF4-FFF2-40B4-BE49-F238E27FC236}">
                <a16:creationId xmlns:a16="http://schemas.microsoft.com/office/drawing/2014/main" id="{16921189-9456-4725-8796-9A63F4FF2A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7348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0" name="Text Placeholder 20">
            <a:extLst>
              <a:ext uri="{FF2B5EF4-FFF2-40B4-BE49-F238E27FC236}">
                <a16:creationId xmlns:a16="http://schemas.microsoft.com/office/drawing/2014/main" id="{AE279508-3E84-4EBE-BA6B-3B720AECF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878AB44-EE12-455A-BBB0-B5C1D69C3B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96B76ADA-0F82-4009-B48F-06F5BE9434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27348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D769DA76-2E5E-4579-8580-F35E830E20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9396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EE63D31-8274-422B-BB5C-1322C346F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9396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2BA01F8F-457E-4EBD-A72E-F504F5EC5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04012" y="1592796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EAF15CFC-3F46-4D43-B341-F497C9D37E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36060" y="1757427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0E2EA731-5BB9-4EC1-8EB5-184ACE70DF1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36060" y="2024844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29" name="Text Placeholder 20">
            <a:extLst>
              <a:ext uri="{FF2B5EF4-FFF2-40B4-BE49-F238E27FC236}">
                <a16:creationId xmlns:a16="http://schemas.microsoft.com/office/drawing/2014/main" id="{84BB2A9C-8535-467B-AC6B-C1B058B392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04012" y="2960948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5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2DC572E8-1F82-4B53-AF7F-384B189AF8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636060" y="3125579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C054D566-3D6B-4B30-AF80-C1C61C87FC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636060" y="3392996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594A9388-93DB-4C06-8ECA-D5F6FADED7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04012" y="4329100"/>
            <a:ext cx="221214" cy="461665"/>
          </a:xfrm>
        </p:spPr>
        <p:txBody>
          <a:bodyPr wrap="none" anchor="ctr">
            <a:spAutoFit/>
          </a:bodyPr>
          <a:lstStyle>
            <a:lvl1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buFont typeface="Credit Suisse Type Roman" panose="020B0604020202020204" pitchFamily="34" charset="0"/>
              <a:buNone/>
              <a:defRPr sz="3000" b="0">
                <a:solidFill>
                  <a:schemeClr val="tx1"/>
                </a:solidFill>
                <a:latin typeface="+mj-lt"/>
              </a:defRPr>
            </a:lvl2pPr>
            <a:lvl3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3pPr>
            <a:lvl4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4pPr>
            <a:lvl5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5pPr>
            <a:lvl6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6pPr>
            <a:lvl7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7pPr>
            <a:lvl8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8pPr>
            <a:lvl9pPr marL="0" indent="0" algn="l">
              <a:spcBef>
                <a:spcPts val="0"/>
              </a:spcBef>
              <a:buNone/>
              <a:defRPr sz="3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6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D42822C5-6A82-408A-A140-9FDE7F4F3D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36060" y="4493731"/>
            <a:ext cx="5328000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Credit Suisse Type Roman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agenda point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0CB119A-0EC1-49E6-B7C7-90227128C7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36060" y="4761148"/>
            <a:ext cx="5328000" cy="215444"/>
          </a:xfrm>
        </p:spPr>
        <p:txBody>
          <a:bodyPr>
            <a:spAutoFit/>
          </a:bodyPr>
          <a:lstStyle>
            <a:lvl1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2pPr>
            <a:lvl3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3pPr>
            <a:lvl4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4pPr>
            <a:lvl5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5pPr>
            <a:lvl6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6pPr>
            <a:lvl7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7pPr>
            <a:lvl8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8pPr>
            <a:lvl9pPr marL="180000" indent="-180000">
              <a:spcBef>
                <a:spcPts val="200"/>
              </a:spcBef>
              <a:buFont typeface="Wingdings" panose="05000000000000000000" pitchFamily="2" charset="2"/>
              <a:buChar char="§"/>
              <a:defRPr sz="13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lick to edit subpoint</a:t>
            </a:r>
          </a:p>
        </p:txBody>
      </p:sp>
    </p:spTree>
    <p:extLst>
      <p:ext uri="{BB962C8B-B14F-4D97-AF65-F5344CB8AC3E}">
        <p14:creationId xmlns:p14="http://schemas.microsoft.com/office/powerpoint/2010/main" val="134308609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A0FEDA4-5EFC-4CDF-A9C9-15CF8F34C7B4}"/>
              </a:ext>
            </a:extLst>
          </p:cNvPr>
          <p:cNvSpPr/>
          <p:nvPr/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5688632 h 5796644"/>
              <a:gd name="connsiteX8" fmla="*/ 0 w 11736000"/>
              <a:gd name="connsiteY8" fmla="*/ 4644516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5688632 h 5796644"/>
              <a:gd name="connsiteX7" fmla="*/ 0 w 11736000"/>
              <a:gd name="connsiteY7" fmla="*/ 4644516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4644516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E3BE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/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119593938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ction divider with Image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3F05F24-D816-4D5B-84FD-79986AC230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27348" y="224644"/>
            <a:ext cx="11736000" cy="5796644"/>
          </a:xfrm>
          <a:custGeom>
            <a:avLst/>
            <a:gdLst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4644516 h 5796644"/>
              <a:gd name="connsiteX10" fmla="*/ 0 w 11736000"/>
              <a:gd name="connsiteY10" fmla="*/ 2675674 h 5796644"/>
              <a:gd name="connsiteX11" fmla="*/ 432048 w 11736000"/>
              <a:gd name="connsiteY11" fmla="*/ 2675674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5688632 h 5796644"/>
              <a:gd name="connsiteX9" fmla="*/ 0 w 11736000"/>
              <a:gd name="connsiteY9" fmla="*/ 2675674 h 5796644"/>
              <a:gd name="connsiteX10" fmla="*/ 432048 w 11736000"/>
              <a:gd name="connsiteY10" fmla="*/ 2675674 h 5796644"/>
              <a:gd name="connsiteX11" fmla="*/ 432048 w 11736000"/>
              <a:gd name="connsiteY11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688632 h 5796644"/>
              <a:gd name="connsiteX6" fmla="*/ 10836000 w 11736000"/>
              <a:gd name="connsiteY6" fmla="*/ 5796644 h 5796644"/>
              <a:gd name="connsiteX7" fmla="*/ 0 w 11736000"/>
              <a:gd name="connsiteY7" fmla="*/ 5796644 h 5796644"/>
              <a:gd name="connsiteX8" fmla="*/ 0 w 11736000"/>
              <a:gd name="connsiteY8" fmla="*/ 2675674 h 5796644"/>
              <a:gd name="connsiteX9" fmla="*/ 432048 w 11736000"/>
              <a:gd name="connsiteY9" fmla="*/ 2675674 h 5796644"/>
              <a:gd name="connsiteX10" fmla="*/ 432048 w 11736000"/>
              <a:gd name="connsiteY10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7204 w 11736000"/>
              <a:gd name="connsiteY4" fmla="*/ 5688632 h 5796644"/>
              <a:gd name="connsiteX5" fmla="*/ 10836000 w 11736000"/>
              <a:gd name="connsiteY5" fmla="*/ 5796644 h 5796644"/>
              <a:gd name="connsiteX6" fmla="*/ 0 w 11736000"/>
              <a:gd name="connsiteY6" fmla="*/ 5796644 h 5796644"/>
              <a:gd name="connsiteX7" fmla="*/ 0 w 11736000"/>
              <a:gd name="connsiteY7" fmla="*/ 2675674 h 5796644"/>
              <a:gd name="connsiteX8" fmla="*/ 432048 w 11736000"/>
              <a:gd name="connsiteY8" fmla="*/ 2675674 h 5796644"/>
              <a:gd name="connsiteX9" fmla="*/ 432048 w 11736000"/>
              <a:gd name="connsiteY9" fmla="*/ 0 h 5796644"/>
              <a:gd name="connsiteX0" fmla="*/ 432048 w 11736000"/>
              <a:gd name="connsiteY0" fmla="*/ 0 h 5796644"/>
              <a:gd name="connsiteX1" fmla="*/ 11736000 w 11736000"/>
              <a:gd name="connsiteY1" fmla="*/ 0 h 5796644"/>
              <a:gd name="connsiteX2" fmla="*/ 11736000 w 11736000"/>
              <a:gd name="connsiteY2" fmla="*/ 4392488 h 5796644"/>
              <a:gd name="connsiteX3" fmla="*/ 10837204 w 11736000"/>
              <a:gd name="connsiteY3" fmla="*/ 4392488 h 5796644"/>
              <a:gd name="connsiteX4" fmla="*/ 10836000 w 11736000"/>
              <a:gd name="connsiteY4" fmla="*/ 5796644 h 5796644"/>
              <a:gd name="connsiteX5" fmla="*/ 0 w 11736000"/>
              <a:gd name="connsiteY5" fmla="*/ 5796644 h 5796644"/>
              <a:gd name="connsiteX6" fmla="*/ 0 w 11736000"/>
              <a:gd name="connsiteY6" fmla="*/ 2675674 h 5796644"/>
              <a:gd name="connsiteX7" fmla="*/ 432048 w 11736000"/>
              <a:gd name="connsiteY7" fmla="*/ 2675674 h 5796644"/>
              <a:gd name="connsiteX8" fmla="*/ 432048 w 11736000"/>
              <a:gd name="connsiteY8" fmla="*/ 0 h 579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36000" h="5796644">
                <a:moveTo>
                  <a:pt x="432048" y="0"/>
                </a:moveTo>
                <a:lnTo>
                  <a:pt x="11736000" y="0"/>
                </a:lnTo>
                <a:lnTo>
                  <a:pt x="11736000" y="4392488"/>
                </a:lnTo>
                <a:lnTo>
                  <a:pt x="10837204" y="4392488"/>
                </a:lnTo>
                <a:cubicBezTo>
                  <a:pt x="10836803" y="4860540"/>
                  <a:pt x="10836401" y="5328592"/>
                  <a:pt x="10836000" y="5796644"/>
                </a:cubicBezTo>
                <a:lnTo>
                  <a:pt x="0" y="5796644"/>
                </a:lnTo>
                <a:lnTo>
                  <a:pt x="0" y="2675674"/>
                </a:lnTo>
                <a:lnTo>
                  <a:pt x="432048" y="2675674"/>
                </a:lnTo>
                <a:lnTo>
                  <a:pt x="432048" y="0"/>
                </a:lnTo>
                <a:close/>
              </a:path>
            </a:pathLst>
          </a:custGeom>
          <a:solidFill>
            <a:srgbClr val="CCCCCC"/>
          </a:solidFill>
        </p:spPr>
        <p:txBody>
          <a:bodyPr wrap="square" lIns="576000" tIns="72000" rIns="72000" bIns="72000" anchor="t">
            <a:no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 dirty="0"/>
              <a:t>To insert a background image: Click on icon or select an image by clicking on the “Insert” tab and choosing the “Pictures” comman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2030D-51BB-4DAF-8F3F-C808432A8F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091444" y="2467925"/>
            <a:ext cx="9540000" cy="553998"/>
          </a:xfrm>
        </p:spPr>
        <p:txBody>
          <a:bodyPr vert="horz"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7995417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oleObject" Target="../embeddings/oleObject3.bin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57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64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75.xml"/><Relationship Id="rId21" Type="http://schemas.openxmlformats.org/officeDocument/2006/relationships/oleObject" Target="../embeddings/oleObject5.bin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8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93.xml"/><Relationship Id="rId21" Type="http://schemas.openxmlformats.org/officeDocument/2006/relationships/oleObject" Target="../embeddings/oleObject6.bin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100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06" imgH="306" progId="TCLayout.ActiveDocument.1">
                  <p:embed/>
                </p:oleObj>
              </mc:Choice>
              <mc:Fallback>
                <p:oleObj name="think-cell Slide" r:id="rId21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Legal Entity, department or author | Month Day, Year (Click Insert | Header &amp; Footer)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E1436D9-F116-4999-A3D1-5B0370FA0AE3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006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6" r:id="rId7"/>
    <p:sldLayoutId id="2147483897" r:id="rId8"/>
    <p:sldLayoutId id="2147483898" r:id="rId9"/>
    <p:sldLayoutId id="2147483899" r:id="rId10"/>
    <p:sldLayoutId id="2147483900" r:id="rId11"/>
    <p:sldLayoutId id="2147483901" r:id="rId12"/>
    <p:sldLayoutId id="2147483902" r:id="rId13"/>
    <p:sldLayoutId id="2147483903" r:id="rId14"/>
    <p:sldLayoutId id="2147483904" r:id="rId15"/>
    <p:sldLayoutId id="2147483905" r:id="rId16"/>
    <p:sldLayoutId id="2147483906" r:id="rId17"/>
    <p:sldLayoutId id="2147483907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06" imgH="306" progId="TCLayout.ActiveDocument.1">
                  <p:embed/>
                </p:oleObj>
              </mc:Choice>
              <mc:Fallback>
                <p:oleObj name="think-cell Slide" r:id="rId21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Legal Entity, department or author | Month Day, Year (Click Insert | Header &amp; Footer)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09336D1-6240-46E7-B41F-177ADDB84C15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008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919" r:id="rId12"/>
    <p:sldLayoutId id="2147483920" r:id="rId13"/>
    <p:sldLayoutId id="2147483921" r:id="rId14"/>
    <p:sldLayoutId id="2147483922" r:id="rId15"/>
    <p:sldLayoutId id="2147483923" r:id="rId16"/>
    <p:sldLayoutId id="2147483924" r:id="rId17"/>
    <p:sldLayoutId id="2147483925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06" imgH="306" progId="TCLayout.ActiveDocument.1">
                  <p:embed/>
                </p:oleObj>
              </mc:Choice>
              <mc:Fallback>
                <p:oleObj name="think-cell Slide" r:id="rId21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Legal Entity, department or author | Month Day, Year (Click Insert | Header &amp; Footer)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AD74332-785E-49F7-98CE-7FADBC26F898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959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  <p:sldLayoutId id="2147483937" r:id="rId12"/>
    <p:sldLayoutId id="2147483938" r:id="rId13"/>
    <p:sldLayoutId id="2147483939" r:id="rId14"/>
    <p:sldLayoutId id="2147483940" r:id="rId15"/>
    <p:sldLayoutId id="2147483941" r:id="rId16"/>
    <p:sldLayoutId id="2147483942" r:id="rId17"/>
    <p:sldLayoutId id="2147483943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06" imgH="306" progId="TCLayout.ActiveDocument.1">
                  <p:embed/>
                </p:oleObj>
              </mc:Choice>
              <mc:Fallback>
                <p:oleObj name="think-cell Slide" r:id="rId21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Legal Entity, department or author | Month Day, Year (Click Insert | Header &amp; Footer)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465DAC8-9454-48BD-BD01-EB5E830D39E7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7384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  <p:sldLayoutId id="2147483952" r:id="rId9"/>
    <p:sldLayoutId id="2147483953" r:id="rId10"/>
    <p:sldLayoutId id="2147483954" r:id="rId11"/>
    <p:sldLayoutId id="2147483955" r:id="rId12"/>
    <p:sldLayoutId id="2147483956" r:id="rId13"/>
    <p:sldLayoutId id="2147483957" r:id="rId14"/>
    <p:sldLayoutId id="2147483958" r:id="rId15"/>
    <p:sldLayoutId id="2147483959" r:id="rId16"/>
    <p:sldLayoutId id="2147483960" r:id="rId17"/>
    <p:sldLayoutId id="2147483961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06" imgH="306" progId="TCLayout.ActiveDocument.1">
                  <p:embed/>
                </p:oleObj>
              </mc:Choice>
              <mc:Fallback>
                <p:oleObj name="think-cell Slide" r:id="rId21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Legal Entity, department or author | Month Day, Year (Click Insert | Header &amp; Footer)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EF6379C-C1FC-42B1-ADE5-D6DAFF801AB3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8908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  <p:sldLayoutId id="2147483973" r:id="rId12"/>
    <p:sldLayoutId id="2147483974" r:id="rId13"/>
    <p:sldLayoutId id="2147483975" r:id="rId14"/>
    <p:sldLayoutId id="2147483976" r:id="rId15"/>
    <p:sldLayoutId id="2147483977" r:id="rId16"/>
    <p:sldLayoutId id="2147483978" r:id="rId17"/>
    <p:sldLayoutId id="2147483979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69A049-E19B-40FA-9F9E-599AB53A187D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2334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06" imgH="306" progId="TCLayout.ActiveDocument.1">
                  <p:embed/>
                </p:oleObj>
              </mc:Choice>
              <mc:Fallback>
                <p:oleObj name="think-cell Slide" r:id="rId21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69A049-E19B-40FA-9F9E-599AB53A1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682D91-E061-4689-9159-EED42F3535B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807" y="185794"/>
            <a:ext cx="1173600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/>
              <a:t>Click to edit slide title (maximum two lines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2BA07-55DE-494C-BC34-D63014961B9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7807" y="1664804"/>
            <a:ext cx="11736000" cy="43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55932-4995-496E-9647-52F2A55AE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9855" y="6448690"/>
            <a:ext cx="900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r>
              <a:rPr lang="en-US"/>
              <a:t>Legal Entity, department or author | Month Day, Year (Click Insert | Header &amp; Footer)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780A13-4AA2-43B5-8240-BE26947D6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7347" y="6448690"/>
            <a:ext cx="360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Credit Suisse Type Light" panose="020B0303040503020204" pitchFamily="34" charset="0"/>
              </a:defRPr>
            </a:lvl1pPr>
          </a:lstStyle>
          <a:p>
            <a:fld id="{85774825-35DB-4612-9712-DA03DBF07B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5171BEA-EABC-4CD6-89E3-DA4C43C5729A}"/>
              </a:ext>
            </a:extLst>
          </p:cNvPr>
          <p:cNvSpPr>
            <a:spLocks noChangeAspect="1"/>
          </p:cNvSpPr>
          <p:nvPr userDrawn="1"/>
        </p:nvSpPr>
        <p:spPr>
          <a:xfrm>
            <a:off x="10232207" y="6371809"/>
            <a:ext cx="1731600" cy="231836"/>
          </a:xfrm>
          <a:custGeom>
            <a:avLst/>
            <a:gdLst>
              <a:gd name="connsiteX0" fmla="*/ 484918 w 1890045"/>
              <a:gd name="connsiteY0" fmla="*/ 79058 h 252031"/>
              <a:gd name="connsiteX1" fmla="*/ 431292 w 1890045"/>
              <a:gd name="connsiteY1" fmla="*/ 79058 h 252031"/>
              <a:gd name="connsiteX2" fmla="*/ 431292 w 1890045"/>
              <a:gd name="connsiteY2" fmla="*/ 83439 h 252031"/>
              <a:gd name="connsiteX3" fmla="*/ 436626 w 1890045"/>
              <a:gd name="connsiteY3" fmla="*/ 98012 h 252031"/>
              <a:gd name="connsiteX4" fmla="*/ 436626 w 1890045"/>
              <a:gd name="connsiteY4" fmla="*/ 241078 h 252031"/>
              <a:gd name="connsiteX5" fmla="*/ 484918 w 1890045"/>
              <a:gd name="connsiteY5" fmla="*/ 241078 h 252031"/>
              <a:gd name="connsiteX6" fmla="*/ 578263 w 1890045"/>
              <a:gd name="connsiteY6" fmla="*/ 158306 h 252031"/>
              <a:gd name="connsiteX7" fmla="*/ 484918 w 1890045"/>
              <a:gd name="connsiteY7" fmla="*/ 79058 h 252031"/>
              <a:gd name="connsiteX8" fmla="*/ 479393 w 1890045"/>
              <a:gd name="connsiteY8" fmla="*/ 226028 h 252031"/>
              <a:gd name="connsiteX9" fmla="*/ 463010 w 1890045"/>
              <a:gd name="connsiteY9" fmla="*/ 224600 h 252031"/>
              <a:gd name="connsiteX10" fmla="*/ 463010 w 1890045"/>
              <a:gd name="connsiteY10" fmla="*/ 94298 h 252031"/>
              <a:gd name="connsiteX11" fmla="*/ 475012 w 1890045"/>
              <a:gd name="connsiteY11" fmla="*/ 93821 h 252031"/>
              <a:gd name="connsiteX12" fmla="*/ 548735 w 1890045"/>
              <a:gd name="connsiteY12" fmla="*/ 158782 h 252031"/>
              <a:gd name="connsiteX13" fmla="*/ 479393 w 1890045"/>
              <a:gd name="connsiteY13" fmla="*/ 226028 h 252031"/>
              <a:gd name="connsiteX14" fmla="*/ 278511 w 1890045"/>
              <a:gd name="connsiteY14" fmla="*/ 218599 h 252031"/>
              <a:gd name="connsiteX15" fmla="*/ 255175 w 1890045"/>
              <a:gd name="connsiteY15" fmla="*/ 178403 h 252031"/>
              <a:gd name="connsiteX16" fmla="*/ 237839 w 1890045"/>
              <a:gd name="connsiteY16" fmla="*/ 162497 h 252031"/>
              <a:gd name="connsiteX17" fmla="*/ 276225 w 1890045"/>
              <a:gd name="connsiteY17" fmla="*/ 120206 h 252031"/>
              <a:gd name="connsiteX18" fmla="*/ 218027 w 1890045"/>
              <a:gd name="connsiteY18" fmla="*/ 79058 h 252031"/>
              <a:gd name="connsiteX19" fmla="*/ 167164 w 1890045"/>
              <a:gd name="connsiteY19" fmla="*/ 79058 h 252031"/>
              <a:gd name="connsiteX20" fmla="*/ 167164 w 1890045"/>
              <a:gd name="connsiteY20" fmla="*/ 83439 h 252031"/>
              <a:gd name="connsiteX21" fmla="*/ 172498 w 1890045"/>
              <a:gd name="connsiteY21" fmla="*/ 98012 h 252031"/>
              <a:gd name="connsiteX22" fmla="*/ 172498 w 1890045"/>
              <a:gd name="connsiteY22" fmla="*/ 241078 h 252031"/>
              <a:gd name="connsiteX23" fmla="*/ 198882 w 1890045"/>
              <a:gd name="connsiteY23" fmla="*/ 241078 h 252031"/>
              <a:gd name="connsiteX24" fmla="*/ 198882 w 1890045"/>
              <a:gd name="connsiteY24" fmla="*/ 167545 h 252031"/>
              <a:gd name="connsiteX25" fmla="*/ 207645 w 1890045"/>
              <a:gd name="connsiteY25" fmla="*/ 167545 h 252031"/>
              <a:gd name="connsiteX26" fmla="*/ 230791 w 1890045"/>
              <a:gd name="connsiteY26" fmla="*/ 187643 h 252031"/>
              <a:gd name="connsiteX27" fmla="*/ 251555 w 1890045"/>
              <a:gd name="connsiteY27" fmla="*/ 223742 h 252031"/>
              <a:gd name="connsiteX28" fmla="*/ 287655 w 1890045"/>
              <a:gd name="connsiteY28" fmla="*/ 241078 h 252031"/>
              <a:gd name="connsiteX29" fmla="*/ 301562 w 1890045"/>
              <a:gd name="connsiteY29" fmla="*/ 241078 h 252031"/>
              <a:gd name="connsiteX30" fmla="*/ 302228 w 1890045"/>
              <a:gd name="connsiteY30" fmla="*/ 235744 h 252031"/>
              <a:gd name="connsiteX31" fmla="*/ 278511 w 1890045"/>
              <a:gd name="connsiteY31" fmla="*/ 218599 h 252031"/>
              <a:gd name="connsiteX32" fmla="*/ 213836 w 1890045"/>
              <a:gd name="connsiteY32" fmla="*/ 152972 h 252031"/>
              <a:gd name="connsiteX33" fmla="*/ 198787 w 1890045"/>
              <a:gd name="connsiteY33" fmla="*/ 152972 h 252031"/>
              <a:gd name="connsiteX34" fmla="*/ 198787 w 1890045"/>
              <a:gd name="connsiteY34" fmla="*/ 94488 h 252031"/>
              <a:gd name="connsiteX35" fmla="*/ 214979 w 1890045"/>
              <a:gd name="connsiteY35" fmla="*/ 94012 h 252031"/>
              <a:gd name="connsiteX36" fmla="*/ 248031 w 1890045"/>
              <a:gd name="connsiteY36" fmla="*/ 122206 h 252031"/>
              <a:gd name="connsiteX37" fmla="*/ 213836 w 1890045"/>
              <a:gd name="connsiteY37" fmla="*/ 152972 h 252031"/>
              <a:gd name="connsiteX38" fmla="*/ 144971 w 1890045"/>
              <a:gd name="connsiteY38" fmla="*/ 191834 h 252031"/>
              <a:gd name="connsiteX39" fmla="*/ 148876 w 1890045"/>
              <a:gd name="connsiteY39" fmla="*/ 192977 h 252031"/>
              <a:gd name="connsiteX40" fmla="*/ 145828 w 1890045"/>
              <a:gd name="connsiteY40" fmla="*/ 226695 h 252031"/>
              <a:gd name="connsiteX41" fmla="*/ 87630 w 1890045"/>
              <a:gd name="connsiteY41" fmla="*/ 243364 h 252031"/>
              <a:gd name="connsiteX42" fmla="*/ 0 w 1890045"/>
              <a:gd name="connsiteY42" fmla="*/ 159925 h 252031"/>
              <a:gd name="connsiteX43" fmla="*/ 86868 w 1890045"/>
              <a:gd name="connsiteY43" fmla="*/ 76771 h 252031"/>
              <a:gd name="connsiteX44" fmla="*/ 145066 w 1890045"/>
              <a:gd name="connsiteY44" fmla="*/ 91059 h 252031"/>
              <a:gd name="connsiteX45" fmla="*/ 147161 w 1890045"/>
              <a:gd name="connsiteY45" fmla="*/ 125920 h 252031"/>
              <a:gd name="connsiteX46" fmla="*/ 143447 w 1890045"/>
              <a:gd name="connsiteY46" fmla="*/ 127064 h 252031"/>
              <a:gd name="connsiteX47" fmla="*/ 142780 w 1890045"/>
              <a:gd name="connsiteY47" fmla="*/ 125635 h 252031"/>
              <a:gd name="connsiteX48" fmla="*/ 90583 w 1890045"/>
              <a:gd name="connsiteY48" fmla="*/ 89821 h 252031"/>
              <a:gd name="connsiteX49" fmla="*/ 29528 w 1890045"/>
              <a:gd name="connsiteY49" fmla="*/ 159353 h 252031"/>
              <a:gd name="connsiteX50" fmla="*/ 91250 w 1890045"/>
              <a:gd name="connsiteY50" fmla="*/ 230029 h 252031"/>
              <a:gd name="connsiteX51" fmla="*/ 143447 w 1890045"/>
              <a:gd name="connsiteY51" fmla="*/ 194215 h 252031"/>
              <a:gd name="connsiteX52" fmla="*/ 144971 w 1890045"/>
              <a:gd name="connsiteY52" fmla="*/ 191834 h 252031"/>
              <a:gd name="connsiteX53" fmla="*/ 592836 w 1890045"/>
              <a:gd name="connsiteY53" fmla="*/ 79058 h 252031"/>
              <a:gd name="connsiteX54" fmla="*/ 624459 w 1890045"/>
              <a:gd name="connsiteY54" fmla="*/ 79058 h 252031"/>
              <a:gd name="connsiteX55" fmla="*/ 624459 w 1890045"/>
              <a:gd name="connsiteY55" fmla="*/ 241078 h 252031"/>
              <a:gd name="connsiteX56" fmla="*/ 598075 w 1890045"/>
              <a:gd name="connsiteY56" fmla="*/ 241078 h 252031"/>
              <a:gd name="connsiteX57" fmla="*/ 598075 w 1890045"/>
              <a:gd name="connsiteY57" fmla="*/ 98012 h 252031"/>
              <a:gd name="connsiteX58" fmla="*/ 592741 w 1890045"/>
              <a:gd name="connsiteY58" fmla="*/ 83439 h 252031"/>
              <a:gd name="connsiteX59" fmla="*/ 592741 w 1890045"/>
              <a:gd name="connsiteY59" fmla="*/ 79058 h 252031"/>
              <a:gd name="connsiteX60" fmla="*/ 412337 w 1890045"/>
              <a:gd name="connsiteY60" fmla="*/ 210788 h 252031"/>
              <a:gd name="connsiteX61" fmla="*/ 416243 w 1890045"/>
              <a:gd name="connsiteY61" fmla="*/ 212217 h 252031"/>
              <a:gd name="connsiteX62" fmla="*/ 409575 w 1890045"/>
              <a:gd name="connsiteY62" fmla="*/ 241078 h 252031"/>
              <a:gd name="connsiteX63" fmla="*/ 319659 w 1890045"/>
              <a:gd name="connsiteY63" fmla="*/ 241078 h 252031"/>
              <a:gd name="connsiteX64" fmla="*/ 319659 w 1890045"/>
              <a:gd name="connsiteY64" fmla="*/ 98012 h 252031"/>
              <a:gd name="connsiteX65" fmla="*/ 314325 w 1890045"/>
              <a:gd name="connsiteY65" fmla="*/ 83439 h 252031"/>
              <a:gd name="connsiteX66" fmla="*/ 314325 w 1890045"/>
              <a:gd name="connsiteY66" fmla="*/ 79058 h 252031"/>
              <a:gd name="connsiteX67" fmla="*/ 404908 w 1890045"/>
              <a:gd name="connsiteY67" fmla="*/ 79058 h 252031"/>
              <a:gd name="connsiteX68" fmla="*/ 405574 w 1890045"/>
              <a:gd name="connsiteY68" fmla="*/ 107728 h 252031"/>
              <a:gd name="connsiteX69" fmla="*/ 401669 w 1890045"/>
              <a:gd name="connsiteY69" fmla="*/ 107728 h 252031"/>
              <a:gd name="connsiteX70" fmla="*/ 401193 w 1890045"/>
              <a:gd name="connsiteY70" fmla="*/ 106585 h 252031"/>
              <a:gd name="connsiteX71" fmla="*/ 382715 w 1890045"/>
              <a:gd name="connsiteY71" fmla="*/ 94107 h 252031"/>
              <a:gd name="connsiteX72" fmla="*/ 345948 w 1890045"/>
              <a:gd name="connsiteY72" fmla="*/ 94107 h 252031"/>
              <a:gd name="connsiteX73" fmla="*/ 345948 w 1890045"/>
              <a:gd name="connsiteY73" fmla="*/ 144685 h 252031"/>
              <a:gd name="connsiteX74" fmla="*/ 391668 w 1890045"/>
              <a:gd name="connsiteY74" fmla="*/ 144685 h 252031"/>
              <a:gd name="connsiteX75" fmla="*/ 391668 w 1890045"/>
              <a:gd name="connsiteY75" fmla="*/ 159258 h 252031"/>
              <a:gd name="connsiteX76" fmla="*/ 345948 w 1890045"/>
              <a:gd name="connsiteY76" fmla="*/ 159258 h 252031"/>
              <a:gd name="connsiteX77" fmla="*/ 345948 w 1890045"/>
              <a:gd name="connsiteY77" fmla="*/ 224695 h 252031"/>
              <a:gd name="connsiteX78" fmla="*/ 373475 w 1890045"/>
              <a:gd name="connsiteY78" fmla="*/ 226124 h 252031"/>
              <a:gd name="connsiteX79" fmla="*/ 411385 w 1890045"/>
              <a:gd name="connsiteY79" fmla="*/ 212503 h 252031"/>
              <a:gd name="connsiteX80" fmla="*/ 412337 w 1890045"/>
              <a:gd name="connsiteY80" fmla="*/ 210788 h 252031"/>
              <a:gd name="connsiteX81" fmla="*/ 1083755 w 1890045"/>
              <a:gd name="connsiteY81" fmla="*/ 79058 h 252031"/>
              <a:gd name="connsiteX82" fmla="*/ 1084231 w 1890045"/>
              <a:gd name="connsiteY82" fmla="*/ 79058 h 252031"/>
              <a:gd name="connsiteX83" fmla="*/ 1084231 w 1890045"/>
              <a:gd name="connsiteY83" fmla="*/ 186976 h 252031"/>
              <a:gd name="connsiteX84" fmla="*/ 1027367 w 1890045"/>
              <a:gd name="connsiteY84" fmla="*/ 243364 h 252031"/>
              <a:gd name="connsiteX85" fmla="*/ 968883 w 1890045"/>
              <a:gd name="connsiteY85" fmla="*/ 183547 h 252031"/>
              <a:gd name="connsiteX86" fmla="*/ 968883 w 1890045"/>
              <a:gd name="connsiteY86" fmla="*/ 98012 h 252031"/>
              <a:gd name="connsiteX87" fmla="*/ 963549 w 1890045"/>
              <a:gd name="connsiteY87" fmla="*/ 83439 h 252031"/>
              <a:gd name="connsiteX88" fmla="*/ 963549 w 1890045"/>
              <a:gd name="connsiteY88" fmla="*/ 79058 h 252031"/>
              <a:gd name="connsiteX89" fmla="*/ 995172 w 1890045"/>
              <a:gd name="connsiteY89" fmla="*/ 79058 h 252031"/>
              <a:gd name="connsiteX90" fmla="*/ 995172 w 1890045"/>
              <a:gd name="connsiteY90" fmla="*/ 183547 h 252031"/>
              <a:gd name="connsiteX91" fmla="*/ 1032796 w 1890045"/>
              <a:gd name="connsiteY91" fmla="*/ 228410 h 252031"/>
              <a:gd name="connsiteX92" fmla="*/ 1066991 w 1890045"/>
              <a:gd name="connsiteY92" fmla="*/ 188690 h 252031"/>
              <a:gd name="connsiteX93" fmla="*/ 1066991 w 1890045"/>
              <a:gd name="connsiteY93" fmla="*/ 98108 h 252031"/>
              <a:gd name="connsiteX94" fmla="*/ 1061657 w 1890045"/>
              <a:gd name="connsiteY94" fmla="*/ 83534 h 252031"/>
              <a:gd name="connsiteX95" fmla="*/ 1061657 w 1890045"/>
              <a:gd name="connsiteY95" fmla="*/ 79153 h 252031"/>
              <a:gd name="connsiteX96" fmla="*/ 1083755 w 1890045"/>
              <a:gd name="connsiteY96" fmla="*/ 79153 h 252031"/>
              <a:gd name="connsiteX97" fmla="*/ 1382554 w 1890045"/>
              <a:gd name="connsiteY97" fmla="*/ 194119 h 252031"/>
              <a:gd name="connsiteX98" fmla="*/ 1331024 w 1890045"/>
              <a:gd name="connsiteY98" fmla="*/ 243364 h 252031"/>
              <a:gd name="connsiteX99" fmla="*/ 1285494 w 1890045"/>
              <a:gd name="connsiteY99" fmla="*/ 226695 h 252031"/>
              <a:gd name="connsiteX100" fmla="*/ 1282446 w 1890045"/>
              <a:gd name="connsiteY100" fmla="*/ 192977 h 252031"/>
              <a:gd name="connsiteX101" fmla="*/ 1286828 w 1890045"/>
              <a:gd name="connsiteY101" fmla="*/ 191548 h 252031"/>
              <a:gd name="connsiteX102" fmla="*/ 1288447 w 1890045"/>
              <a:gd name="connsiteY102" fmla="*/ 195263 h 252031"/>
              <a:gd name="connsiteX103" fmla="*/ 1330738 w 1890045"/>
              <a:gd name="connsiteY103" fmla="*/ 229934 h 252031"/>
              <a:gd name="connsiteX104" fmla="*/ 1359122 w 1890045"/>
              <a:gd name="connsiteY104" fmla="*/ 202216 h 252031"/>
              <a:gd name="connsiteX105" fmla="*/ 1340358 w 1890045"/>
              <a:gd name="connsiteY105" fmla="*/ 174974 h 252031"/>
              <a:gd name="connsiteX106" fmla="*/ 1313117 w 1890045"/>
              <a:gd name="connsiteY106" fmla="*/ 159734 h 252031"/>
              <a:gd name="connsiteX107" fmla="*/ 1285589 w 1890045"/>
              <a:gd name="connsiteY107" fmla="*/ 121158 h 252031"/>
              <a:gd name="connsiteX108" fmla="*/ 1334548 w 1890045"/>
              <a:gd name="connsiteY108" fmla="*/ 76771 h 252031"/>
              <a:gd name="connsiteX109" fmla="*/ 1371505 w 1890045"/>
              <a:gd name="connsiteY109" fmla="*/ 88106 h 252031"/>
              <a:gd name="connsiteX110" fmla="*/ 1373315 w 1890045"/>
              <a:gd name="connsiteY110" fmla="*/ 117729 h 252031"/>
              <a:gd name="connsiteX111" fmla="*/ 1369600 w 1890045"/>
              <a:gd name="connsiteY111" fmla="*/ 118872 h 252031"/>
              <a:gd name="connsiteX112" fmla="*/ 1368171 w 1890045"/>
              <a:gd name="connsiteY112" fmla="*/ 116110 h 252031"/>
              <a:gd name="connsiteX113" fmla="*/ 1335119 w 1890045"/>
              <a:gd name="connsiteY113" fmla="*/ 90011 h 252031"/>
              <a:gd name="connsiteX114" fmla="*/ 1307878 w 1890045"/>
              <a:gd name="connsiteY114" fmla="*/ 114300 h 252031"/>
              <a:gd name="connsiteX115" fmla="*/ 1327785 w 1890045"/>
              <a:gd name="connsiteY115" fmla="*/ 137827 h 252031"/>
              <a:gd name="connsiteX116" fmla="*/ 1355503 w 1890045"/>
              <a:gd name="connsiteY116" fmla="*/ 153067 h 252031"/>
              <a:gd name="connsiteX117" fmla="*/ 1382554 w 1890045"/>
              <a:gd name="connsiteY117" fmla="*/ 194119 h 252031"/>
              <a:gd name="connsiteX118" fmla="*/ 1498283 w 1890045"/>
              <a:gd name="connsiteY118" fmla="*/ 210788 h 252031"/>
              <a:gd name="connsiteX119" fmla="*/ 1502188 w 1890045"/>
              <a:gd name="connsiteY119" fmla="*/ 212217 h 252031"/>
              <a:gd name="connsiteX120" fmla="*/ 1495520 w 1890045"/>
              <a:gd name="connsiteY120" fmla="*/ 241078 h 252031"/>
              <a:gd name="connsiteX121" fmla="*/ 1405604 w 1890045"/>
              <a:gd name="connsiteY121" fmla="*/ 241078 h 252031"/>
              <a:gd name="connsiteX122" fmla="*/ 1405604 w 1890045"/>
              <a:gd name="connsiteY122" fmla="*/ 98012 h 252031"/>
              <a:gd name="connsiteX123" fmla="*/ 1400270 w 1890045"/>
              <a:gd name="connsiteY123" fmla="*/ 83439 h 252031"/>
              <a:gd name="connsiteX124" fmla="*/ 1400270 w 1890045"/>
              <a:gd name="connsiteY124" fmla="*/ 79058 h 252031"/>
              <a:gd name="connsiteX125" fmla="*/ 1490853 w 1890045"/>
              <a:gd name="connsiteY125" fmla="*/ 79058 h 252031"/>
              <a:gd name="connsiteX126" fmla="*/ 1491520 w 1890045"/>
              <a:gd name="connsiteY126" fmla="*/ 107728 h 252031"/>
              <a:gd name="connsiteX127" fmla="*/ 1487615 w 1890045"/>
              <a:gd name="connsiteY127" fmla="*/ 107728 h 252031"/>
              <a:gd name="connsiteX128" fmla="*/ 1487138 w 1890045"/>
              <a:gd name="connsiteY128" fmla="*/ 106585 h 252031"/>
              <a:gd name="connsiteX129" fmla="*/ 1468660 w 1890045"/>
              <a:gd name="connsiteY129" fmla="*/ 94107 h 252031"/>
              <a:gd name="connsiteX130" fmla="*/ 1431893 w 1890045"/>
              <a:gd name="connsiteY130" fmla="*/ 94107 h 252031"/>
              <a:gd name="connsiteX131" fmla="*/ 1431893 w 1890045"/>
              <a:gd name="connsiteY131" fmla="*/ 144685 h 252031"/>
              <a:gd name="connsiteX132" fmla="*/ 1477613 w 1890045"/>
              <a:gd name="connsiteY132" fmla="*/ 144685 h 252031"/>
              <a:gd name="connsiteX133" fmla="*/ 1477613 w 1890045"/>
              <a:gd name="connsiteY133" fmla="*/ 159258 h 252031"/>
              <a:gd name="connsiteX134" fmla="*/ 1431893 w 1890045"/>
              <a:gd name="connsiteY134" fmla="*/ 159258 h 252031"/>
              <a:gd name="connsiteX135" fmla="*/ 1431893 w 1890045"/>
              <a:gd name="connsiteY135" fmla="*/ 224695 h 252031"/>
              <a:gd name="connsiteX136" fmla="*/ 1459421 w 1890045"/>
              <a:gd name="connsiteY136" fmla="*/ 226124 h 252031"/>
              <a:gd name="connsiteX137" fmla="*/ 1497330 w 1890045"/>
              <a:gd name="connsiteY137" fmla="*/ 212503 h 252031"/>
              <a:gd name="connsiteX138" fmla="*/ 1498283 w 1890045"/>
              <a:gd name="connsiteY138" fmla="*/ 210788 h 252031"/>
              <a:gd name="connsiteX139" fmla="*/ 1890046 w 1890045"/>
              <a:gd name="connsiteY139" fmla="*/ 203168 h 252031"/>
              <a:gd name="connsiteX140" fmla="*/ 1888236 w 1890045"/>
              <a:gd name="connsiteY140" fmla="*/ 204978 h 252031"/>
              <a:gd name="connsiteX141" fmla="*/ 1881759 w 1890045"/>
              <a:gd name="connsiteY141" fmla="*/ 203549 h 252031"/>
              <a:gd name="connsiteX142" fmla="*/ 1809464 w 1890045"/>
              <a:gd name="connsiteY142" fmla="*/ 187833 h 252031"/>
              <a:gd name="connsiteX143" fmla="*/ 1714500 w 1890045"/>
              <a:gd name="connsiteY143" fmla="*/ 112681 h 252031"/>
              <a:gd name="connsiteX144" fmla="*/ 1720787 w 1890045"/>
              <a:gd name="connsiteY144" fmla="*/ 179927 h 252031"/>
              <a:gd name="connsiteX145" fmla="*/ 1725454 w 1890045"/>
              <a:gd name="connsiteY145" fmla="*/ 184594 h 252031"/>
              <a:gd name="connsiteX146" fmla="*/ 1751552 w 1890045"/>
              <a:gd name="connsiteY146" fmla="*/ 183452 h 252031"/>
              <a:gd name="connsiteX147" fmla="*/ 1809560 w 1890045"/>
              <a:gd name="connsiteY147" fmla="*/ 187833 h 252031"/>
              <a:gd name="connsiteX148" fmla="*/ 1872234 w 1890045"/>
              <a:gd name="connsiteY148" fmla="*/ 248603 h 252031"/>
              <a:gd name="connsiteX149" fmla="*/ 1872901 w 1890045"/>
              <a:gd name="connsiteY149" fmla="*/ 250222 h 252031"/>
              <a:gd name="connsiteX150" fmla="*/ 1871091 w 1890045"/>
              <a:gd name="connsiteY150" fmla="*/ 252032 h 252031"/>
              <a:gd name="connsiteX151" fmla="*/ 1864614 w 1890045"/>
              <a:gd name="connsiteY151" fmla="*/ 250603 h 252031"/>
              <a:gd name="connsiteX152" fmla="*/ 1732217 w 1890045"/>
              <a:gd name="connsiteY152" fmla="*/ 232791 h 252031"/>
              <a:gd name="connsiteX153" fmla="*/ 1654778 w 1890045"/>
              <a:gd name="connsiteY153" fmla="*/ 239744 h 252031"/>
              <a:gd name="connsiteX154" fmla="*/ 1650111 w 1890045"/>
              <a:gd name="connsiteY154" fmla="*/ 236315 h 252031"/>
              <a:gd name="connsiteX155" fmla="*/ 1532668 w 1890045"/>
              <a:gd name="connsiteY155" fmla="*/ 10096 h 252031"/>
              <a:gd name="connsiteX156" fmla="*/ 1531715 w 1890045"/>
              <a:gd name="connsiteY156" fmla="*/ 8287 h 252031"/>
              <a:gd name="connsiteX157" fmla="*/ 1534001 w 1890045"/>
              <a:gd name="connsiteY157" fmla="*/ 6001 h 252031"/>
              <a:gd name="connsiteX158" fmla="*/ 1535621 w 1890045"/>
              <a:gd name="connsiteY158" fmla="*/ 6477 h 252031"/>
              <a:gd name="connsiteX159" fmla="*/ 1714310 w 1890045"/>
              <a:gd name="connsiteY159" fmla="*/ 112300 h 252031"/>
              <a:gd name="connsiteX160" fmla="*/ 1667351 w 1890045"/>
              <a:gd name="connsiteY160" fmla="*/ 3905 h 252031"/>
              <a:gd name="connsiteX161" fmla="*/ 1666685 w 1890045"/>
              <a:gd name="connsiteY161" fmla="*/ 2096 h 252031"/>
              <a:gd name="connsiteX162" fmla="*/ 1668780 w 1890045"/>
              <a:gd name="connsiteY162" fmla="*/ 0 h 252031"/>
              <a:gd name="connsiteX163" fmla="*/ 1671542 w 1890045"/>
              <a:gd name="connsiteY163" fmla="*/ 1143 h 252031"/>
              <a:gd name="connsiteX164" fmla="*/ 1889474 w 1890045"/>
              <a:gd name="connsiteY164" fmla="*/ 201549 h 252031"/>
              <a:gd name="connsiteX165" fmla="*/ 1890046 w 1890045"/>
              <a:gd name="connsiteY165" fmla="*/ 203168 h 252031"/>
              <a:gd name="connsiteX166" fmla="*/ 949262 w 1890045"/>
              <a:gd name="connsiteY166" fmla="*/ 194119 h 252031"/>
              <a:gd name="connsiteX167" fmla="*/ 897731 w 1890045"/>
              <a:gd name="connsiteY167" fmla="*/ 243364 h 252031"/>
              <a:gd name="connsiteX168" fmla="*/ 852202 w 1890045"/>
              <a:gd name="connsiteY168" fmla="*/ 226695 h 252031"/>
              <a:gd name="connsiteX169" fmla="*/ 849154 w 1890045"/>
              <a:gd name="connsiteY169" fmla="*/ 192977 h 252031"/>
              <a:gd name="connsiteX170" fmla="*/ 853535 w 1890045"/>
              <a:gd name="connsiteY170" fmla="*/ 191548 h 252031"/>
              <a:gd name="connsiteX171" fmla="*/ 855155 w 1890045"/>
              <a:gd name="connsiteY171" fmla="*/ 195263 h 252031"/>
              <a:gd name="connsiteX172" fmla="*/ 897446 w 1890045"/>
              <a:gd name="connsiteY172" fmla="*/ 229934 h 252031"/>
              <a:gd name="connsiteX173" fmla="*/ 925830 w 1890045"/>
              <a:gd name="connsiteY173" fmla="*/ 202216 h 252031"/>
              <a:gd name="connsiteX174" fmla="*/ 907066 w 1890045"/>
              <a:gd name="connsiteY174" fmla="*/ 174974 h 252031"/>
              <a:gd name="connsiteX175" fmla="*/ 879824 w 1890045"/>
              <a:gd name="connsiteY175" fmla="*/ 159734 h 252031"/>
              <a:gd name="connsiteX176" fmla="*/ 852297 w 1890045"/>
              <a:gd name="connsiteY176" fmla="*/ 121158 h 252031"/>
              <a:gd name="connsiteX177" fmla="*/ 901256 w 1890045"/>
              <a:gd name="connsiteY177" fmla="*/ 76771 h 252031"/>
              <a:gd name="connsiteX178" fmla="*/ 938212 w 1890045"/>
              <a:gd name="connsiteY178" fmla="*/ 88106 h 252031"/>
              <a:gd name="connsiteX179" fmla="*/ 940022 w 1890045"/>
              <a:gd name="connsiteY179" fmla="*/ 117729 h 252031"/>
              <a:gd name="connsiteX180" fmla="*/ 936308 w 1890045"/>
              <a:gd name="connsiteY180" fmla="*/ 118872 h 252031"/>
              <a:gd name="connsiteX181" fmla="*/ 934879 w 1890045"/>
              <a:gd name="connsiteY181" fmla="*/ 116110 h 252031"/>
              <a:gd name="connsiteX182" fmla="*/ 901827 w 1890045"/>
              <a:gd name="connsiteY182" fmla="*/ 90011 h 252031"/>
              <a:gd name="connsiteX183" fmla="*/ 874586 w 1890045"/>
              <a:gd name="connsiteY183" fmla="*/ 114300 h 252031"/>
              <a:gd name="connsiteX184" fmla="*/ 894493 w 1890045"/>
              <a:gd name="connsiteY184" fmla="*/ 137827 h 252031"/>
              <a:gd name="connsiteX185" fmla="*/ 922211 w 1890045"/>
              <a:gd name="connsiteY185" fmla="*/ 153067 h 252031"/>
              <a:gd name="connsiteX186" fmla="*/ 949262 w 1890045"/>
              <a:gd name="connsiteY186" fmla="*/ 194119 h 252031"/>
              <a:gd name="connsiteX187" fmla="*/ 772192 w 1890045"/>
              <a:gd name="connsiteY187" fmla="*/ 79058 h 252031"/>
              <a:gd name="connsiteX188" fmla="*/ 772859 w 1890045"/>
              <a:gd name="connsiteY188" fmla="*/ 107728 h 252031"/>
              <a:gd name="connsiteX189" fmla="*/ 768953 w 1890045"/>
              <a:gd name="connsiteY189" fmla="*/ 107728 h 252031"/>
              <a:gd name="connsiteX190" fmla="*/ 768477 w 1890045"/>
              <a:gd name="connsiteY190" fmla="*/ 106585 h 252031"/>
              <a:gd name="connsiteX191" fmla="*/ 749999 w 1890045"/>
              <a:gd name="connsiteY191" fmla="*/ 94107 h 252031"/>
              <a:gd name="connsiteX192" fmla="*/ 722471 w 1890045"/>
              <a:gd name="connsiteY192" fmla="*/ 94107 h 252031"/>
              <a:gd name="connsiteX193" fmla="*/ 722471 w 1890045"/>
              <a:gd name="connsiteY193" fmla="*/ 241078 h 252031"/>
              <a:gd name="connsiteX194" fmla="*/ 696087 w 1890045"/>
              <a:gd name="connsiteY194" fmla="*/ 241078 h 252031"/>
              <a:gd name="connsiteX195" fmla="*/ 696087 w 1890045"/>
              <a:gd name="connsiteY195" fmla="*/ 94107 h 252031"/>
              <a:gd name="connsiteX196" fmla="*/ 668560 w 1890045"/>
              <a:gd name="connsiteY196" fmla="*/ 94107 h 252031"/>
              <a:gd name="connsiteX197" fmla="*/ 650081 w 1890045"/>
              <a:gd name="connsiteY197" fmla="*/ 106585 h 252031"/>
              <a:gd name="connsiteX198" fmla="*/ 649605 w 1890045"/>
              <a:gd name="connsiteY198" fmla="*/ 107728 h 252031"/>
              <a:gd name="connsiteX199" fmla="*/ 645700 w 1890045"/>
              <a:gd name="connsiteY199" fmla="*/ 107728 h 252031"/>
              <a:gd name="connsiteX200" fmla="*/ 646367 w 1890045"/>
              <a:gd name="connsiteY200" fmla="*/ 79058 h 252031"/>
              <a:gd name="connsiteX201" fmla="*/ 772192 w 1890045"/>
              <a:gd name="connsiteY201" fmla="*/ 79058 h 252031"/>
              <a:gd name="connsiteX202" fmla="*/ 1266539 w 1890045"/>
              <a:gd name="connsiteY202" fmla="*/ 194119 h 252031"/>
              <a:gd name="connsiteX203" fmla="*/ 1215009 w 1890045"/>
              <a:gd name="connsiteY203" fmla="*/ 243364 h 252031"/>
              <a:gd name="connsiteX204" fmla="*/ 1169480 w 1890045"/>
              <a:gd name="connsiteY204" fmla="*/ 226695 h 252031"/>
              <a:gd name="connsiteX205" fmla="*/ 1166432 w 1890045"/>
              <a:gd name="connsiteY205" fmla="*/ 192977 h 252031"/>
              <a:gd name="connsiteX206" fmla="*/ 1170813 w 1890045"/>
              <a:gd name="connsiteY206" fmla="*/ 191548 h 252031"/>
              <a:gd name="connsiteX207" fmla="*/ 1172432 w 1890045"/>
              <a:gd name="connsiteY207" fmla="*/ 195263 h 252031"/>
              <a:gd name="connsiteX208" fmla="*/ 1214723 w 1890045"/>
              <a:gd name="connsiteY208" fmla="*/ 229934 h 252031"/>
              <a:gd name="connsiteX209" fmla="*/ 1243108 w 1890045"/>
              <a:gd name="connsiteY209" fmla="*/ 202216 h 252031"/>
              <a:gd name="connsiteX210" fmla="*/ 1224344 w 1890045"/>
              <a:gd name="connsiteY210" fmla="*/ 174974 h 252031"/>
              <a:gd name="connsiteX211" fmla="*/ 1197102 w 1890045"/>
              <a:gd name="connsiteY211" fmla="*/ 159734 h 252031"/>
              <a:gd name="connsiteX212" fmla="*/ 1169575 w 1890045"/>
              <a:gd name="connsiteY212" fmla="*/ 121158 h 252031"/>
              <a:gd name="connsiteX213" fmla="*/ 1218533 w 1890045"/>
              <a:gd name="connsiteY213" fmla="*/ 76771 h 252031"/>
              <a:gd name="connsiteX214" fmla="*/ 1255490 w 1890045"/>
              <a:gd name="connsiteY214" fmla="*/ 88106 h 252031"/>
              <a:gd name="connsiteX215" fmla="*/ 1257300 w 1890045"/>
              <a:gd name="connsiteY215" fmla="*/ 117729 h 252031"/>
              <a:gd name="connsiteX216" fmla="*/ 1253585 w 1890045"/>
              <a:gd name="connsiteY216" fmla="*/ 118872 h 252031"/>
              <a:gd name="connsiteX217" fmla="*/ 1252157 w 1890045"/>
              <a:gd name="connsiteY217" fmla="*/ 116110 h 252031"/>
              <a:gd name="connsiteX218" fmla="*/ 1219105 w 1890045"/>
              <a:gd name="connsiteY218" fmla="*/ 90011 h 252031"/>
              <a:gd name="connsiteX219" fmla="*/ 1191863 w 1890045"/>
              <a:gd name="connsiteY219" fmla="*/ 114300 h 252031"/>
              <a:gd name="connsiteX220" fmla="*/ 1211771 w 1890045"/>
              <a:gd name="connsiteY220" fmla="*/ 137827 h 252031"/>
              <a:gd name="connsiteX221" fmla="*/ 1239488 w 1890045"/>
              <a:gd name="connsiteY221" fmla="*/ 153067 h 252031"/>
              <a:gd name="connsiteX222" fmla="*/ 1266539 w 1890045"/>
              <a:gd name="connsiteY222" fmla="*/ 194119 h 252031"/>
              <a:gd name="connsiteX223" fmla="*/ 1110329 w 1890045"/>
              <a:gd name="connsiteY223" fmla="*/ 79058 h 252031"/>
              <a:gd name="connsiteX224" fmla="*/ 1141952 w 1890045"/>
              <a:gd name="connsiteY224" fmla="*/ 79058 h 252031"/>
              <a:gd name="connsiteX225" fmla="*/ 1141952 w 1890045"/>
              <a:gd name="connsiteY225" fmla="*/ 241078 h 252031"/>
              <a:gd name="connsiteX226" fmla="*/ 1115568 w 1890045"/>
              <a:gd name="connsiteY226" fmla="*/ 241078 h 252031"/>
              <a:gd name="connsiteX227" fmla="*/ 1115568 w 1890045"/>
              <a:gd name="connsiteY227" fmla="*/ 98012 h 252031"/>
              <a:gd name="connsiteX228" fmla="*/ 1110234 w 1890045"/>
              <a:gd name="connsiteY228" fmla="*/ 83439 h 252031"/>
              <a:gd name="connsiteX229" fmla="*/ 1110234 w 1890045"/>
              <a:gd name="connsiteY229" fmla="*/ 79058 h 25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</a:cxnLst>
            <a:rect l="l" t="t" r="r" b="b"/>
            <a:pathLst>
              <a:path w="1890045" h="252031">
                <a:moveTo>
                  <a:pt x="484918" y="79058"/>
                </a:moveTo>
                <a:lnTo>
                  <a:pt x="431292" y="79058"/>
                </a:lnTo>
                <a:lnTo>
                  <a:pt x="431292" y="83439"/>
                </a:lnTo>
                <a:cubicBezTo>
                  <a:pt x="433388" y="84868"/>
                  <a:pt x="436626" y="88106"/>
                  <a:pt x="436626" y="98012"/>
                </a:cubicBezTo>
                <a:lnTo>
                  <a:pt x="436626" y="241078"/>
                </a:lnTo>
                <a:lnTo>
                  <a:pt x="484918" y="241078"/>
                </a:lnTo>
                <a:cubicBezTo>
                  <a:pt x="546164" y="241078"/>
                  <a:pt x="578263" y="199454"/>
                  <a:pt x="578263" y="158306"/>
                </a:cubicBezTo>
                <a:cubicBezTo>
                  <a:pt x="578263" y="118301"/>
                  <a:pt x="547973" y="79058"/>
                  <a:pt x="484918" y="79058"/>
                </a:cubicBezTo>
                <a:close/>
                <a:moveTo>
                  <a:pt x="479393" y="226028"/>
                </a:moveTo>
                <a:cubicBezTo>
                  <a:pt x="473869" y="226028"/>
                  <a:pt x="469011" y="225552"/>
                  <a:pt x="463010" y="224600"/>
                </a:cubicBezTo>
                <a:lnTo>
                  <a:pt x="463010" y="94298"/>
                </a:lnTo>
                <a:cubicBezTo>
                  <a:pt x="465106" y="94107"/>
                  <a:pt x="470154" y="93821"/>
                  <a:pt x="475012" y="93821"/>
                </a:cubicBezTo>
                <a:cubicBezTo>
                  <a:pt x="527971" y="93821"/>
                  <a:pt x="548735" y="121539"/>
                  <a:pt x="548735" y="158782"/>
                </a:cubicBezTo>
                <a:cubicBezTo>
                  <a:pt x="548735" y="202216"/>
                  <a:pt x="520732" y="226028"/>
                  <a:pt x="479393" y="226028"/>
                </a:cubicBezTo>
                <a:close/>
                <a:moveTo>
                  <a:pt x="278511" y="218599"/>
                </a:moveTo>
                <a:lnTo>
                  <a:pt x="255175" y="178403"/>
                </a:lnTo>
                <a:cubicBezTo>
                  <a:pt x="250984" y="171164"/>
                  <a:pt x="246888" y="166021"/>
                  <a:pt x="237839" y="162497"/>
                </a:cubicBezTo>
                <a:cubicBezTo>
                  <a:pt x="265652" y="157163"/>
                  <a:pt x="276225" y="138875"/>
                  <a:pt x="276225" y="120206"/>
                </a:cubicBezTo>
                <a:cubicBezTo>
                  <a:pt x="276225" y="98679"/>
                  <a:pt x="262319" y="79058"/>
                  <a:pt x="218027" y="79058"/>
                </a:cubicBezTo>
                <a:lnTo>
                  <a:pt x="167164" y="79058"/>
                </a:lnTo>
                <a:lnTo>
                  <a:pt x="167164" y="83439"/>
                </a:lnTo>
                <a:cubicBezTo>
                  <a:pt x="169259" y="84868"/>
                  <a:pt x="172498" y="88106"/>
                  <a:pt x="172498" y="98012"/>
                </a:cubicBezTo>
                <a:lnTo>
                  <a:pt x="172498" y="241078"/>
                </a:lnTo>
                <a:lnTo>
                  <a:pt x="198882" y="241078"/>
                </a:lnTo>
                <a:lnTo>
                  <a:pt x="198882" y="167545"/>
                </a:lnTo>
                <a:lnTo>
                  <a:pt x="207645" y="167545"/>
                </a:lnTo>
                <a:cubicBezTo>
                  <a:pt x="218694" y="167545"/>
                  <a:pt x="222409" y="173355"/>
                  <a:pt x="230791" y="187643"/>
                </a:cubicBezTo>
                <a:lnTo>
                  <a:pt x="251555" y="223742"/>
                </a:lnTo>
                <a:cubicBezTo>
                  <a:pt x="257842" y="234601"/>
                  <a:pt x="270986" y="241078"/>
                  <a:pt x="287655" y="241078"/>
                </a:cubicBezTo>
                <a:lnTo>
                  <a:pt x="301562" y="241078"/>
                </a:lnTo>
                <a:lnTo>
                  <a:pt x="302228" y="235744"/>
                </a:lnTo>
                <a:cubicBezTo>
                  <a:pt x="291751" y="232982"/>
                  <a:pt x="283845" y="227648"/>
                  <a:pt x="278511" y="218599"/>
                </a:cubicBezTo>
                <a:close/>
                <a:moveTo>
                  <a:pt x="213836" y="152972"/>
                </a:moveTo>
                <a:lnTo>
                  <a:pt x="198787" y="152972"/>
                </a:lnTo>
                <a:lnTo>
                  <a:pt x="198787" y="94488"/>
                </a:lnTo>
                <a:cubicBezTo>
                  <a:pt x="202216" y="94298"/>
                  <a:pt x="211074" y="94012"/>
                  <a:pt x="214979" y="94012"/>
                </a:cubicBezTo>
                <a:cubicBezTo>
                  <a:pt x="234887" y="94012"/>
                  <a:pt x="248031" y="102775"/>
                  <a:pt x="248031" y="122206"/>
                </a:cubicBezTo>
                <a:cubicBezTo>
                  <a:pt x="248031" y="141446"/>
                  <a:pt x="235077" y="152972"/>
                  <a:pt x="213836" y="152972"/>
                </a:cubicBezTo>
                <a:close/>
                <a:moveTo>
                  <a:pt x="144971" y="191834"/>
                </a:moveTo>
                <a:lnTo>
                  <a:pt x="148876" y="192977"/>
                </a:lnTo>
                <a:lnTo>
                  <a:pt x="145828" y="226695"/>
                </a:lnTo>
                <a:cubicBezTo>
                  <a:pt x="128016" y="238030"/>
                  <a:pt x="108395" y="243364"/>
                  <a:pt x="87630" y="243364"/>
                </a:cubicBezTo>
                <a:cubicBezTo>
                  <a:pt x="30099" y="243364"/>
                  <a:pt x="0" y="202502"/>
                  <a:pt x="0" y="159925"/>
                </a:cubicBezTo>
                <a:cubicBezTo>
                  <a:pt x="0" y="116205"/>
                  <a:pt x="31433" y="76771"/>
                  <a:pt x="86868" y="76771"/>
                </a:cubicBezTo>
                <a:cubicBezTo>
                  <a:pt x="108585" y="76771"/>
                  <a:pt x="127349" y="82772"/>
                  <a:pt x="145066" y="91059"/>
                </a:cubicBezTo>
                <a:lnTo>
                  <a:pt x="147161" y="125920"/>
                </a:lnTo>
                <a:lnTo>
                  <a:pt x="143447" y="127064"/>
                </a:lnTo>
                <a:lnTo>
                  <a:pt x="142780" y="125635"/>
                </a:lnTo>
                <a:cubicBezTo>
                  <a:pt x="131445" y="102965"/>
                  <a:pt x="112967" y="89821"/>
                  <a:pt x="90583" y="89821"/>
                </a:cubicBezTo>
                <a:cubicBezTo>
                  <a:pt x="59341" y="89821"/>
                  <a:pt x="29528" y="115443"/>
                  <a:pt x="29528" y="159353"/>
                </a:cubicBezTo>
                <a:cubicBezTo>
                  <a:pt x="29528" y="203740"/>
                  <a:pt x="60293" y="230029"/>
                  <a:pt x="91250" y="230029"/>
                </a:cubicBezTo>
                <a:cubicBezTo>
                  <a:pt x="112967" y="230029"/>
                  <a:pt x="130969" y="217075"/>
                  <a:pt x="143447" y="194215"/>
                </a:cubicBezTo>
                <a:lnTo>
                  <a:pt x="144971" y="191834"/>
                </a:lnTo>
                <a:close/>
                <a:moveTo>
                  <a:pt x="592836" y="79058"/>
                </a:moveTo>
                <a:lnTo>
                  <a:pt x="624459" y="79058"/>
                </a:lnTo>
                <a:lnTo>
                  <a:pt x="624459" y="241078"/>
                </a:lnTo>
                <a:lnTo>
                  <a:pt x="598075" y="241078"/>
                </a:lnTo>
                <a:lnTo>
                  <a:pt x="598075" y="98012"/>
                </a:lnTo>
                <a:cubicBezTo>
                  <a:pt x="598075" y="88106"/>
                  <a:pt x="594836" y="84868"/>
                  <a:pt x="592741" y="83439"/>
                </a:cubicBezTo>
                <a:lnTo>
                  <a:pt x="592741" y="79058"/>
                </a:lnTo>
                <a:close/>
                <a:moveTo>
                  <a:pt x="412337" y="210788"/>
                </a:moveTo>
                <a:lnTo>
                  <a:pt x="416243" y="212217"/>
                </a:lnTo>
                <a:lnTo>
                  <a:pt x="409575" y="241078"/>
                </a:lnTo>
                <a:lnTo>
                  <a:pt x="319659" y="241078"/>
                </a:lnTo>
                <a:lnTo>
                  <a:pt x="319659" y="98012"/>
                </a:lnTo>
                <a:cubicBezTo>
                  <a:pt x="319659" y="88106"/>
                  <a:pt x="316421" y="84868"/>
                  <a:pt x="314325" y="83439"/>
                </a:cubicBezTo>
                <a:lnTo>
                  <a:pt x="314325" y="79058"/>
                </a:lnTo>
                <a:lnTo>
                  <a:pt x="404908" y="79058"/>
                </a:lnTo>
                <a:lnTo>
                  <a:pt x="405574" y="107728"/>
                </a:lnTo>
                <a:lnTo>
                  <a:pt x="401669" y="107728"/>
                </a:lnTo>
                <a:lnTo>
                  <a:pt x="401193" y="106585"/>
                </a:lnTo>
                <a:cubicBezTo>
                  <a:pt x="398621" y="100298"/>
                  <a:pt x="393383" y="94107"/>
                  <a:pt x="382715" y="94107"/>
                </a:cubicBezTo>
                <a:lnTo>
                  <a:pt x="345948" y="94107"/>
                </a:lnTo>
                <a:lnTo>
                  <a:pt x="345948" y="144685"/>
                </a:lnTo>
                <a:lnTo>
                  <a:pt x="391668" y="144685"/>
                </a:lnTo>
                <a:lnTo>
                  <a:pt x="391668" y="159258"/>
                </a:lnTo>
                <a:lnTo>
                  <a:pt x="345948" y="159258"/>
                </a:lnTo>
                <a:lnTo>
                  <a:pt x="345948" y="224695"/>
                </a:lnTo>
                <a:cubicBezTo>
                  <a:pt x="351949" y="225362"/>
                  <a:pt x="363093" y="226124"/>
                  <a:pt x="373475" y="226124"/>
                </a:cubicBezTo>
                <a:cubicBezTo>
                  <a:pt x="403289" y="226124"/>
                  <a:pt x="407003" y="220313"/>
                  <a:pt x="411385" y="212503"/>
                </a:cubicBezTo>
                <a:lnTo>
                  <a:pt x="412337" y="210788"/>
                </a:lnTo>
                <a:close/>
                <a:moveTo>
                  <a:pt x="1083755" y="79058"/>
                </a:moveTo>
                <a:lnTo>
                  <a:pt x="1084231" y="79058"/>
                </a:lnTo>
                <a:lnTo>
                  <a:pt x="1084231" y="186976"/>
                </a:lnTo>
                <a:cubicBezTo>
                  <a:pt x="1084231" y="224409"/>
                  <a:pt x="1060418" y="243364"/>
                  <a:pt x="1027367" y="243364"/>
                </a:cubicBezTo>
                <a:cubicBezTo>
                  <a:pt x="993648" y="243364"/>
                  <a:pt x="968883" y="223742"/>
                  <a:pt x="968883" y="183547"/>
                </a:cubicBezTo>
                <a:lnTo>
                  <a:pt x="968883" y="98012"/>
                </a:lnTo>
                <a:cubicBezTo>
                  <a:pt x="968883" y="88106"/>
                  <a:pt x="965645" y="84868"/>
                  <a:pt x="963549" y="83439"/>
                </a:cubicBezTo>
                <a:lnTo>
                  <a:pt x="963549" y="79058"/>
                </a:lnTo>
                <a:lnTo>
                  <a:pt x="995172" y="79058"/>
                </a:lnTo>
                <a:lnTo>
                  <a:pt x="995172" y="183547"/>
                </a:lnTo>
                <a:cubicBezTo>
                  <a:pt x="995172" y="213360"/>
                  <a:pt x="1009745" y="228410"/>
                  <a:pt x="1032796" y="228410"/>
                </a:cubicBezTo>
                <a:cubicBezTo>
                  <a:pt x="1052417" y="228410"/>
                  <a:pt x="1066991" y="212884"/>
                  <a:pt x="1066991" y="188690"/>
                </a:cubicBezTo>
                <a:lnTo>
                  <a:pt x="1066991" y="98108"/>
                </a:lnTo>
                <a:cubicBezTo>
                  <a:pt x="1066991" y="88202"/>
                  <a:pt x="1063752" y="84963"/>
                  <a:pt x="1061657" y="83534"/>
                </a:cubicBezTo>
                <a:lnTo>
                  <a:pt x="1061657" y="79153"/>
                </a:lnTo>
                <a:lnTo>
                  <a:pt x="1083755" y="79153"/>
                </a:lnTo>
                <a:close/>
                <a:moveTo>
                  <a:pt x="1382554" y="194119"/>
                </a:moveTo>
                <a:cubicBezTo>
                  <a:pt x="1382554" y="219266"/>
                  <a:pt x="1363790" y="243364"/>
                  <a:pt x="1331024" y="243364"/>
                </a:cubicBezTo>
                <a:cubicBezTo>
                  <a:pt x="1313212" y="243364"/>
                  <a:pt x="1296162" y="236411"/>
                  <a:pt x="1285494" y="226695"/>
                </a:cubicBezTo>
                <a:lnTo>
                  <a:pt x="1282446" y="192977"/>
                </a:lnTo>
                <a:lnTo>
                  <a:pt x="1286828" y="191548"/>
                </a:lnTo>
                <a:lnTo>
                  <a:pt x="1288447" y="195263"/>
                </a:lnTo>
                <a:cubicBezTo>
                  <a:pt x="1298353" y="217932"/>
                  <a:pt x="1314545" y="229934"/>
                  <a:pt x="1330738" y="229934"/>
                </a:cubicBezTo>
                <a:cubicBezTo>
                  <a:pt x="1346454" y="229934"/>
                  <a:pt x="1359122" y="218123"/>
                  <a:pt x="1359122" y="202216"/>
                </a:cubicBezTo>
                <a:cubicBezTo>
                  <a:pt x="1359122" y="190691"/>
                  <a:pt x="1351979" y="181451"/>
                  <a:pt x="1340358" y="174974"/>
                </a:cubicBezTo>
                <a:lnTo>
                  <a:pt x="1313117" y="159734"/>
                </a:lnTo>
                <a:cubicBezTo>
                  <a:pt x="1302925" y="154210"/>
                  <a:pt x="1285589" y="142589"/>
                  <a:pt x="1285589" y="121158"/>
                </a:cubicBezTo>
                <a:cubicBezTo>
                  <a:pt x="1285589" y="97345"/>
                  <a:pt x="1304354" y="76771"/>
                  <a:pt x="1334548" y="76771"/>
                </a:cubicBezTo>
                <a:cubicBezTo>
                  <a:pt x="1347502" y="76771"/>
                  <a:pt x="1359980" y="80486"/>
                  <a:pt x="1371505" y="88106"/>
                </a:cubicBezTo>
                <a:lnTo>
                  <a:pt x="1373315" y="117729"/>
                </a:lnTo>
                <a:lnTo>
                  <a:pt x="1369600" y="118872"/>
                </a:lnTo>
                <a:lnTo>
                  <a:pt x="1368171" y="116110"/>
                </a:lnTo>
                <a:cubicBezTo>
                  <a:pt x="1362647" y="105061"/>
                  <a:pt x="1353407" y="90011"/>
                  <a:pt x="1335119" y="90011"/>
                </a:cubicBezTo>
                <a:cubicBezTo>
                  <a:pt x="1319594" y="90011"/>
                  <a:pt x="1307878" y="100870"/>
                  <a:pt x="1307878" y="114300"/>
                </a:cubicBezTo>
                <a:cubicBezTo>
                  <a:pt x="1307878" y="125349"/>
                  <a:pt x="1316450" y="131636"/>
                  <a:pt x="1327785" y="137827"/>
                </a:cubicBezTo>
                <a:lnTo>
                  <a:pt x="1355503" y="153067"/>
                </a:lnTo>
                <a:cubicBezTo>
                  <a:pt x="1375124" y="163640"/>
                  <a:pt x="1382554" y="178213"/>
                  <a:pt x="1382554" y="194119"/>
                </a:cubicBezTo>
                <a:close/>
                <a:moveTo>
                  <a:pt x="1498283" y="210788"/>
                </a:moveTo>
                <a:lnTo>
                  <a:pt x="1502188" y="212217"/>
                </a:lnTo>
                <a:lnTo>
                  <a:pt x="1495520" y="241078"/>
                </a:lnTo>
                <a:lnTo>
                  <a:pt x="1405604" y="241078"/>
                </a:lnTo>
                <a:lnTo>
                  <a:pt x="1405604" y="98012"/>
                </a:lnTo>
                <a:cubicBezTo>
                  <a:pt x="1405604" y="88106"/>
                  <a:pt x="1402366" y="84868"/>
                  <a:pt x="1400270" y="83439"/>
                </a:cubicBezTo>
                <a:lnTo>
                  <a:pt x="1400270" y="79058"/>
                </a:lnTo>
                <a:lnTo>
                  <a:pt x="1490853" y="79058"/>
                </a:lnTo>
                <a:lnTo>
                  <a:pt x="1491520" y="107728"/>
                </a:lnTo>
                <a:lnTo>
                  <a:pt x="1487615" y="107728"/>
                </a:lnTo>
                <a:lnTo>
                  <a:pt x="1487138" y="106585"/>
                </a:lnTo>
                <a:cubicBezTo>
                  <a:pt x="1484567" y="100298"/>
                  <a:pt x="1479328" y="94107"/>
                  <a:pt x="1468660" y="94107"/>
                </a:cubicBezTo>
                <a:lnTo>
                  <a:pt x="1431893" y="94107"/>
                </a:lnTo>
                <a:lnTo>
                  <a:pt x="1431893" y="144685"/>
                </a:lnTo>
                <a:lnTo>
                  <a:pt x="1477613" y="144685"/>
                </a:lnTo>
                <a:lnTo>
                  <a:pt x="1477613" y="159258"/>
                </a:lnTo>
                <a:lnTo>
                  <a:pt x="1431893" y="159258"/>
                </a:lnTo>
                <a:lnTo>
                  <a:pt x="1431893" y="224695"/>
                </a:lnTo>
                <a:cubicBezTo>
                  <a:pt x="1437894" y="225362"/>
                  <a:pt x="1449038" y="226124"/>
                  <a:pt x="1459421" y="226124"/>
                </a:cubicBezTo>
                <a:cubicBezTo>
                  <a:pt x="1489234" y="226124"/>
                  <a:pt x="1492949" y="220313"/>
                  <a:pt x="1497330" y="212503"/>
                </a:cubicBezTo>
                <a:lnTo>
                  <a:pt x="1498283" y="210788"/>
                </a:lnTo>
                <a:close/>
                <a:moveTo>
                  <a:pt x="1890046" y="203168"/>
                </a:moveTo>
                <a:cubicBezTo>
                  <a:pt x="1890046" y="204121"/>
                  <a:pt x="1889379" y="204978"/>
                  <a:pt x="1888236" y="204978"/>
                </a:cubicBezTo>
                <a:cubicBezTo>
                  <a:pt x="1887569" y="204978"/>
                  <a:pt x="1886426" y="204788"/>
                  <a:pt x="1881759" y="203549"/>
                </a:cubicBezTo>
                <a:cubicBezTo>
                  <a:pt x="1856804" y="197072"/>
                  <a:pt x="1842040" y="193643"/>
                  <a:pt x="1809464" y="187833"/>
                </a:cubicBezTo>
                <a:cubicBezTo>
                  <a:pt x="1774984" y="157829"/>
                  <a:pt x="1746790" y="136493"/>
                  <a:pt x="1714500" y="112681"/>
                </a:cubicBezTo>
                <a:cubicBezTo>
                  <a:pt x="1718405" y="134207"/>
                  <a:pt x="1720501" y="155639"/>
                  <a:pt x="1720787" y="179927"/>
                </a:cubicBezTo>
                <a:cubicBezTo>
                  <a:pt x="1720787" y="183642"/>
                  <a:pt x="1721930" y="184785"/>
                  <a:pt x="1725454" y="184594"/>
                </a:cubicBezTo>
                <a:cubicBezTo>
                  <a:pt x="1731931" y="183928"/>
                  <a:pt x="1741361" y="183452"/>
                  <a:pt x="1751552" y="183452"/>
                </a:cubicBezTo>
                <a:cubicBezTo>
                  <a:pt x="1770317" y="183452"/>
                  <a:pt x="1790605" y="184880"/>
                  <a:pt x="1809560" y="187833"/>
                </a:cubicBezTo>
                <a:cubicBezTo>
                  <a:pt x="1833848" y="209741"/>
                  <a:pt x="1856232" y="231553"/>
                  <a:pt x="1872234" y="248603"/>
                </a:cubicBezTo>
                <a:cubicBezTo>
                  <a:pt x="1872710" y="249079"/>
                  <a:pt x="1872901" y="249746"/>
                  <a:pt x="1872901" y="250222"/>
                </a:cubicBezTo>
                <a:cubicBezTo>
                  <a:pt x="1872901" y="251174"/>
                  <a:pt x="1872234" y="252032"/>
                  <a:pt x="1871091" y="252032"/>
                </a:cubicBezTo>
                <a:cubicBezTo>
                  <a:pt x="1870424" y="252032"/>
                  <a:pt x="1869281" y="251841"/>
                  <a:pt x="1864614" y="250603"/>
                </a:cubicBezTo>
                <a:cubicBezTo>
                  <a:pt x="1814036" y="236982"/>
                  <a:pt x="1768507" y="232791"/>
                  <a:pt x="1732217" y="232791"/>
                </a:cubicBezTo>
                <a:cubicBezTo>
                  <a:pt x="1696403" y="232791"/>
                  <a:pt x="1669828" y="236982"/>
                  <a:pt x="1654778" y="239744"/>
                </a:cubicBezTo>
                <a:cubicBezTo>
                  <a:pt x="1651540" y="240411"/>
                  <a:pt x="1650873" y="239268"/>
                  <a:pt x="1650111" y="236315"/>
                </a:cubicBezTo>
                <a:cubicBezTo>
                  <a:pt x="1628870" y="142018"/>
                  <a:pt x="1584674" y="56483"/>
                  <a:pt x="1532668" y="10096"/>
                </a:cubicBezTo>
                <a:cubicBezTo>
                  <a:pt x="1532001" y="9430"/>
                  <a:pt x="1531715" y="8668"/>
                  <a:pt x="1531715" y="8287"/>
                </a:cubicBezTo>
                <a:cubicBezTo>
                  <a:pt x="1531715" y="7144"/>
                  <a:pt x="1532668" y="6001"/>
                  <a:pt x="1534001" y="6001"/>
                </a:cubicBezTo>
                <a:cubicBezTo>
                  <a:pt x="1534478" y="6001"/>
                  <a:pt x="1535144" y="6191"/>
                  <a:pt x="1535621" y="6477"/>
                </a:cubicBezTo>
                <a:cubicBezTo>
                  <a:pt x="1592485" y="34481"/>
                  <a:pt x="1649063" y="68199"/>
                  <a:pt x="1714310" y="112300"/>
                </a:cubicBezTo>
                <a:cubicBezTo>
                  <a:pt x="1705070" y="68580"/>
                  <a:pt x="1689354" y="32099"/>
                  <a:pt x="1667351" y="3905"/>
                </a:cubicBezTo>
                <a:cubicBezTo>
                  <a:pt x="1666875" y="3239"/>
                  <a:pt x="1666685" y="2762"/>
                  <a:pt x="1666685" y="2096"/>
                </a:cubicBezTo>
                <a:cubicBezTo>
                  <a:pt x="1666685" y="953"/>
                  <a:pt x="1667637" y="0"/>
                  <a:pt x="1668780" y="0"/>
                </a:cubicBezTo>
                <a:cubicBezTo>
                  <a:pt x="1669256" y="0"/>
                  <a:pt x="1670209" y="191"/>
                  <a:pt x="1671542" y="1143"/>
                </a:cubicBezTo>
                <a:cubicBezTo>
                  <a:pt x="1751743" y="56102"/>
                  <a:pt x="1819656" y="111633"/>
                  <a:pt x="1889474" y="201549"/>
                </a:cubicBezTo>
                <a:cubicBezTo>
                  <a:pt x="1889855" y="202025"/>
                  <a:pt x="1890046" y="202692"/>
                  <a:pt x="1890046" y="203168"/>
                </a:cubicBezTo>
                <a:close/>
                <a:moveTo>
                  <a:pt x="949262" y="194119"/>
                </a:moveTo>
                <a:cubicBezTo>
                  <a:pt x="949262" y="219266"/>
                  <a:pt x="930497" y="243364"/>
                  <a:pt x="897731" y="243364"/>
                </a:cubicBezTo>
                <a:cubicBezTo>
                  <a:pt x="879920" y="243364"/>
                  <a:pt x="862870" y="236411"/>
                  <a:pt x="852202" y="226695"/>
                </a:cubicBezTo>
                <a:lnTo>
                  <a:pt x="849154" y="192977"/>
                </a:lnTo>
                <a:lnTo>
                  <a:pt x="853535" y="191548"/>
                </a:lnTo>
                <a:lnTo>
                  <a:pt x="855155" y="195263"/>
                </a:lnTo>
                <a:cubicBezTo>
                  <a:pt x="865061" y="217932"/>
                  <a:pt x="881253" y="229934"/>
                  <a:pt x="897446" y="229934"/>
                </a:cubicBezTo>
                <a:cubicBezTo>
                  <a:pt x="913162" y="229934"/>
                  <a:pt x="925830" y="218123"/>
                  <a:pt x="925830" y="202216"/>
                </a:cubicBezTo>
                <a:cubicBezTo>
                  <a:pt x="925830" y="190691"/>
                  <a:pt x="918686" y="181451"/>
                  <a:pt x="907066" y="174974"/>
                </a:cubicBezTo>
                <a:lnTo>
                  <a:pt x="879824" y="159734"/>
                </a:lnTo>
                <a:cubicBezTo>
                  <a:pt x="869633" y="154210"/>
                  <a:pt x="852297" y="142589"/>
                  <a:pt x="852297" y="121158"/>
                </a:cubicBezTo>
                <a:cubicBezTo>
                  <a:pt x="852297" y="97345"/>
                  <a:pt x="871061" y="76771"/>
                  <a:pt x="901256" y="76771"/>
                </a:cubicBezTo>
                <a:cubicBezTo>
                  <a:pt x="914210" y="76771"/>
                  <a:pt x="926687" y="80486"/>
                  <a:pt x="938212" y="88106"/>
                </a:cubicBezTo>
                <a:lnTo>
                  <a:pt x="940022" y="117729"/>
                </a:lnTo>
                <a:lnTo>
                  <a:pt x="936308" y="118872"/>
                </a:lnTo>
                <a:lnTo>
                  <a:pt x="934879" y="116110"/>
                </a:lnTo>
                <a:cubicBezTo>
                  <a:pt x="929354" y="105061"/>
                  <a:pt x="920115" y="90011"/>
                  <a:pt x="901827" y="90011"/>
                </a:cubicBezTo>
                <a:cubicBezTo>
                  <a:pt x="886301" y="90011"/>
                  <a:pt x="874586" y="100870"/>
                  <a:pt x="874586" y="114300"/>
                </a:cubicBezTo>
                <a:cubicBezTo>
                  <a:pt x="874586" y="125349"/>
                  <a:pt x="883158" y="131636"/>
                  <a:pt x="894493" y="137827"/>
                </a:cubicBezTo>
                <a:lnTo>
                  <a:pt x="922211" y="153067"/>
                </a:lnTo>
                <a:cubicBezTo>
                  <a:pt x="941832" y="163640"/>
                  <a:pt x="949262" y="178213"/>
                  <a:pt x="949262" y="194119"/>
                </a:cubicBezTo>
                <a:close/>
                <a:moveTo>
                  <a:pt x="772192" y="79058"/>
                </a:moveTo>
                <a:lnTo>
                  <a:pt x="772859" y="107728"/>
                </a:lnTo>
                <a:lnTo>
                  <a:pt x="768953" y="107728"/>
                </a:lnTo>
                <a:lnTo>
                  <a:pt x="768477" y="106585"/>
                </a:lnTo>
                <a:cubicBezTo>
                  <a:pt x="765905" y="100298"/>
                  <a:pt x="760667" y="94107"/>
                  <a:pt x="749999" y="94107"/>
                </a:cubicBezTo>
                <a:lnTo>
                  <a:pt x="722471" y="94107"/>
                </a:lnTo>
                <a:lnTo>
                  <a:pt x="722471" y="241078"/>
                </a:lnTo>
                <a:lnTo>
                  <a:pt x="696087" y="241078"/>
                </a:lnTo>
                <a:lnTo>
                  <a:pt x="696087" y="94107"/>
                </a:lnTo>
                <a:lnTo>
                  <a:pt x="668560" y="94107"/>
                </a:lnTo>
                <a:cubicBezTo>
                  <a:pt x="657892" y="94107"/>
                  <a:pt x="652653" y="100393"/>
                  <a:pt x="650081" y="106585"/>
                </a:cubicBezTo>
                <a:lnTo>
                  <a:pt x="649605" y="107728"/>
                </a:lnTo>
                <a:lnTo>
                  <a:pt x="645700" y="107728"/>
                </a:lnTo>
                <a:lnTo>
                  <a:pt x="646367" y="79058"/>
                </a:lnTo>
                <a:lnTo>
                  <a:pt x="772192" y="79058"/>
                </a:lnTo>
                <a:close/>
                <a:moveTo>
                  <a:pt x="1266539" y="194119"/>
                </a:moveTo>
                <a:cubicBezTo>
                  <a:pt x="1266539" y="219266"/>
                  <a:pt x="1247775" y="243364"/>
                  <a:pt x="1215009" y="243364"/>
                </a:cubicBezTo>
                <a:cubicBezTo>
                  <a:pt x="1197197" y="243364"/>
                  <a:pt x="1180148" y="236411"/>
                  <a:pt x="1169480" y="226695"/>
                </a:cubicBezTo>
                <a:lnTo>
                  <a:pt x="1166432" y="192977"/>
                </a:lnTo>
                <a:lnTo>
                  <a:pt x="1170813" y="191548"/>
                </a:lnTo>
                <a:lnTo>
                  <a:pt x="1172432" y="195263"/>
                </a:lnTo>
                <a:cubicBezTo>
                  <a:pt x="1182338" y="217932"/>
                  <a:pt x="1198531" y="229934"/>
                  <a:pt x="1214723" y="229934"/>
                </a:cubicBezTo>
                <a:cubicBezTo>
                  <a:pt x="1230440" y="229934"/>
                  <a:pt x="1243108" y="218123"/>
                  <a:pt x="1243108" y="202216"/>
                </a:cubicBezTo>
                <a:cubicBezTo>
                  <a:pt x="1243108" y="190691"/>
                  <a:pt x="1235964" y="181451"/>
                  <a:pt x="1224344" y="174974"/>
                </a:cubicBezTo>
                <a:lnTo>
                  <a:pt x="1197102" y="159734"/>
                </a:lnTo>
                <a:cubicBezTo>
                  <a:pt x="1186910" y="154210"/>
                  <a:pt x="1169575" y="142589"/>
                  <a:pt x="1169575" y="121158"/>
                </a:cubicBezTo>
                <a:cubicBezTo>
                  <a:pt x="1169575" y="97345"/>
                  <a:pt x="1188339" y="76771"/>
                  <a:pt x="1218533" y="76771"/>
                </a:cubicBezTo>
                <a:cubicBezTo>
                  <a:pt x="1231487" y="76771"/>
                  <a:pt x="1243965" y="80486"/>
                  <a:pt x="1255490" y="88106"/>
                </a:cubicBezTo>
                <a:lnTo>
                  <a:pt x="1257300" y="117729"/>
                </a:lnTo>
                <a:lnTo>
                  <a:pt x="1253585" y="118872"/>
                </a:lnTo>
                <a:lnTo>
                  <a:pt x="1252157" y="116110"/>
                </a:lnTo>
                <a:cubicBezTo>
                  <a:pt x="1246632" y="105061"/>
                  <a:pt x="1237393" y="90011"/>
                  <a:pt x="1219105" y="90011"/>
                </a:cubicBezTo>
                <a:cubicBezTo>
                  <a:pt x="1203579" y="90011"/>
                  <a:pt x="1191863" y="100870"/>
                  <a:pt x="1191863" y="114300"/>
                </a:cubicBezTo>
                <a:cubicBezTo>
                  <a:pt x="1191863" y="125349"/>
                  <a:pt x="1200436" y="131636"/>
                  <a:pt x="1211771" y="137827"/>
                </a:cubicBezTo>
                <a:lnTo>
                  <a:pt x="1239488" y="153067"/>
                </a:lnTo>
                <a:cubicBezTo>
                  <a:pt x="1259110" y="163640"/>
                  <a:pt x="1266539" y="178213"/>
                  <a:pt x="1266539" y="194119"/>
                </a:cubicBezTo>
                <a:close/>
                <a:moveTo>
                  <a:pt x="1110329" y="79058"/>
                </a:moveTo>
                <a:lnTo>
                  <a:pt x="1141952" y="79058"/>
                </a:lnTo>
                <a:lnTo>
                  <a:pt x="1141952" y="241078"/>
                </a:lnTo>
                <a:lnTo>
                  <a:pt x="1115568" y="241078"/>
                </a:lnTo>
                <a:lnTo>
                  <a:pt x="1115568" y="98012"/>
                </a:lnTo>
                <a:cubicBezTo>
                  <a:pt x="1115568" y="88106"/>
                  <a:pt x="1112330" y="84868"/>
                  <a:pt x="1110234" y="83439"/>
                </a:cubicBezTo>
                <a:lnTo>
                  <a:pt x="1110234" y="79058"/>
                </a:lnTo>
                <a:close/>
              </a:path>
            </a:pathLst>
          </a:custGeom>
          <a:solidFill>
            <a:srgbClr val="00386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968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  <p:sldLayoutId id="2147483991" r:id="rId12"/>
    <p:sldLayoutId id="2147483992" r:id="rId13"/>
    <p:sldLayoutId id="2147483993" r:id="rId14"/>
    <p:sldLayoutId id="2147483994" r:id="rId15"/>
    <p:sldLayoutId id="2147483995" r:id="rId16"/>
    <p:sldLayoutId id="2147483996" r:id="rId17"/>
    <p:sldLayoutId id="2147483997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buFont typeface="Credit Suisse Type Roman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buFont typeface="Credit Suisse Type Roman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00000"/>
        </a:lnSpc>
        <a:spcBef>
          <a:spcPts val="200"/>
        </a:spcBef>
        <a:buFont typeface="Credit Suisse Type Roman" panose="020B0503040503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143">
          <p15:clr>
            <a:srgbClr val="F26B43"/>
          </p15:clr>
        </p15:guide>
        <p15:guide id="4" pos="7537">
          <p15:clr>
            <a:srgbClr val="F26B43"/>
          </p15:clr>
        </p15:guide>
        <p15:guide id="5" pos="3908">
          <p15:clr>
            <a:srgbClr val="F26B43"/>
          </p15:clr>
        </p15:guide>
        <p15:guide id="6" pos="37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D05882-0846-4F98-8728-91BBF8E380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2972" y="1976281"/>
            <a:ext cx="10086056" cy="588623"/>
          </a:xfrm>
        </p:spPr>
        <p:txBody>
          <a:bodyPr/>
          <a:lstStyle/>
          <a:p>
            <a:r>
              <a:rPr lang="en-IN" dirty="0"/>
              <a:t>Automatic Minutes of Meeting - </a:t>
            </a:r>
            <a:r>
              <a:rPr lang="en-IN" dirty="0" err="1"/>
              <a:t>MoMBot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F54735-F86C-4D93-971F-8945F45197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2972" y="2564904"/>
            <a:ext cx="7560000" cy="3453253"/>
          </a:xfrm>
        </p:spPr>
        <p:txBody>
          <a:bodyPr/>
          <a:lstStyle/>
          <a:p>
            <a:endParaRPr lang="en-IN" dirty="0"/>
          </a:p>
          <a:p>
            <a:r>
              <a:rPr lang="en-IN" sz="3200" dirty="0"/>
              <a:t>- Presented by Team COMBATS</a:t>
            </a:r>
          </a:p>
          <a:p>
            <a:endParaRPr lang="en-IN" sz="3200" dirty="0"/>
          </a:p>
          <a:p>
            <a:r>
              <a:rPr lang="en-IN" sz="3200" dirty="0"/>
              <a:t>		- Vikas Wadhwani</a:t>
            </a:r>
          </a:p>
          <a:p>
            <a:r>
              <a:rPr lang="en-IN" sz="3200" dirty="0"/>
              <a:t>		- Priyanka Agrawal</a:t>
            </a:r>
          </a:p>
          <a:p>
            <a:r>
              <a:rPr lang="en-IN" sz="3200" dirty="0"/>
              <a:t>		- Aman Chauhan</a:t>
            </a:r>
          </a:p>
          <a:p>
            <a:r>
              <a:rPr lang="en-IN" sz="3200" dirty="0"/>
              <a:t>		- Yogesh Gawari</a:t>
            </a:r>
          </a:p>
          <a:p>
            <a:r>
              <a:rPr lang="en-IN" sz="3200" dirty="0"/>
              <a:t>		- Rupesh Thopate</a:t>
            </a:r>
            <a:endParaRPr lang="en-US" sz="3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9D4CDC-E173-4E6E-99C5-D5D1997FE7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6281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88DA02-7445-486A-8075-038D90BE48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Bored of manual Minutes of Meeting ??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32F97F-409A-4EA0-B903-8914A5911F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774825-35DB-4612-9712-DA03DBF07B7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97C82A-ECFD-46EF-A9C0-C1D95D4B88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17029" y="1664804"/>
            <a:ext cx="6346983" cy="4356000"/>
          </a:xfrm>
        </p:spPr>
        <p:txBody>
          <a:bodyPr/>
          <a:lstStyle/>
          <a:p>
            <a:r>
              <a:rPr lang="en-IN" dirty="0"/>
              <a:t>Issues with Manual MoM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Focus diverted towards taking notes instead of participating in the meet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Can miss on important points, when too much information is discussed by the participa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Time Consu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Need to work on format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Need to manually send mail to participa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Completely dependent on understanding of an individual preparing minu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9849B0E-C5F5-429F-AE8A-706C02EC31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855" y="1521389"/>
            <a:ext cx="4280155" cy="4777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6653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9E8EF3-55CD-4F16-AE72-4377C9A487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Try our </a:t>
            </a:r>
            <a:r>
              <a:rPr lang="en-IN" dirty="0" err="1"/>
              <a:t>MoMBot</a:t>
            </a:r>
            <a:r>
              <a:rPr lang="en-IN" dirty="0"/>
              <a:t>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C85A25-6BB2-4C9F-B9E6-AAFBF901B8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774825-35DB-4612-9712-DA03DBF07B7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C67A0CD-9944-41C6-83A1-EFC45014E7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4012" y="1059724"/>
            <a:ext cx="5760000" cy="496108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Enables Automatic Minutes of Mee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Based on Speech recogni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Helps create Minutes Of Meeting with complete details by transcribing audio to meaningful tex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Generates </a:t>
            </a:r>
            <a:r>
              <a:rPr lang="en-IN" dirty="0"/>
              <a:t>smart minutes </a:t>
            </a:r>
            <a:r>
              <a:rPr lang="en-IN" b="0" dirty="0"/>
              <a:t>which includes text summary, as well as it takes us to the time segment where important points being discussed and you can replay from that poi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Sends the minutes (pdf, doc, etc.) over mail to the intended participan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Saves time and effort of team memb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Records and generates document for discussed poin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Increases Productivity</a:t>
            </a:r>
            <a:endParaRPr lang="en-IN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681B643-7E06-CDA7-2FD2-CC68477550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2698" y="862878"/>
            <a:ext cx="4457610" cy="4263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3298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E827D1-0F70-492F-AA92-B22393A9E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Technology Stack used for </a:t>
            </a:r>
            <a:r>
              <a:rPr lang="en-IN" dirty="0" err="1"/>
              <a:t>MoMBo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338750-3AB3-4541-A2F8-A118B75199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774825-35DB-4612-9712-DA03DBF07B7E}" type="slidenum">
              <a:rPr lang="en-US" noProof="0" smtClean="0"/>
              <a:pPr/>
              <a:t>4</a:t>
            </a:fld>
            <a:endParaRPr lang="en-US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F895BE7-FF8F-4155-9931-F63D34A84D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763" y="1360405"/>
            <a:ext cx="3591426" cy="81926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76D589B-ED1C-4DDD-A47E-4092563EAF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263" y="2393612"/>
            <a:ext cx="3248478" cy="159089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F1163C6-CE40-4BC8-8D29-7F6F76B277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50287" y="4542188"/>
            <a:ext cx="1857634" cy="165758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F8890B1-1F47-475F-BB6D-D4555DAF2B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4523" y="3141499"/>
            <a:ext cx="2448267" cy="121937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58267D0-DA7D-4604-AB90-8B378DA1CB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45455" y="1346115"/>
            <a:ext cx="2181529" cy="166710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27CFC05-27B7-42F6-8DC1-2AAC5D59A422}"/>
              </a:ext>
            </a:extLst>
          </p:cNvPr>
          <p:cNvSpPr txBox="1"/>
          <p:nvPr/>
        </p:nvSpPr>
        <p:spPr>
          <a:xfrm>
            <a:off x="6923314" y="1448790"/>
            <a:ext cx="5040034" cy="32855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b="1" dirty="0" err="1"/>
              <a:t>AssemblyAI</a:t>
            </a:r>
            <a:r>
              <a:rPr lang="en-US" sz="1600" b="1" dirty="0"/>
              <a:t> </a:t>
            </a:r>
            <a:r>
              <a:rPr lang="en-US" sz="1600" dirty="0"/>
              <a:t>speech-to-text transcription APIs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b="1" dirty="0" err="1"/>
              <a:t>Streamlit</a:t>
            </a:r>
            <a:r>
              <a:rPr lang="en-US" sz="1600" dirty="0"/>
              <a:t> User interface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Various </a:t>
            </a:r>
            <a:r>
              <a:rPr lang="en-US" sz="1600" b="1" dirty="0"/>
              <a:t>Python Libraries </a:t>
            </a:r>
            <a:r>
              <a:rPr lang="en-US" sz="1600" dirty="0"/>
              <a:t>are used.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Integration with </a:t>
            </a:r>
            <a:r>
              <a:rPr lang="en-US" sz="1600" b="1" dirty="0"/>
              <a:t>Azure file store </a:t>
            </a:r>
            <a:r>
              <a:rPr lang="en-US" sz="1600" dirty="0"/>
              <a:t>and </a:t>
            </a:r>
            <a:r>
              <a:rPr lang="en-US" sz="1600" b="1" dirty="0"/>
              <a:t>MS Teams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b="1" dirty="0"/>
              <a:t>GitHub – </a:t>
            </a:r>
            <a:r>
              <a:rPr lang="en-US" sz="1600" dirty="0"/>
              <a:t>Code Repository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endParaRPr lang="en-US" sz="1600" b="1" dirty="0"/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b="1" dirty="0"/>
              <a:t>Additional Requirements: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Azure Account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Azure File Store</a:t>
            </a:r>
          </a:p>
          <a:p>
            <a:pPr marL="216000" indent="-216000" algn="l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Create your free </a:t>
            </a:r>
            <a:r>
              <a:rPr lang="en-US" sz="1600" dirty="0" err="1"/>
              <a:t>AssemblyAI</a:t>
            </a:r>
            <a:r>
              <a:rPr lang="en-US" sz="1600" dirty="0"/>
              <a:t> Account &amp; obtain your API Key.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380EED1-31B2-4478-8EEC-F9CE6F7CA9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4263" y="4444125"/>
            <a:ext cx="3496163" cy="1028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2824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03FA83-CDF7-4B0B-855E-4D9017827C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How it works?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F54B2D-6E67-4CA9-B81F-AC56BCC4266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774825-35DB-4612-9712-DA03DBF07B7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A1E7E39-37CB-448F-AB18-F8F5A55564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7348" y="1059747"/>
            <a:ext cx="5106652" cy="5202507"/>
          </a:xfrm>
        </p:spPr>
        <p:txBody>
          <a:bodyPr/>
          <a:lstStyle/>
          <a:p>
            <a:r>
              <a:rPr lang="en-US" b="0" dirty="0"/>
              <a:t>1. After MS Team Meeting, recording of the meeting will be uploaded to Azure file store.</a:t>
            </a:r>
          </a:p>
          <a:p>
            <a:r>
              <a:rPr lang="en-US" b="0" dirty="0"/>
              <a:t>2. </a:t>
            </a:r>
            <a:r>
              <a:rPr lang="en-US" b="0" dirty="0" err="1"/>
              <a:t>MoMBot</a:t>
            </a:r>
            <a:r>
              <a:rPr lang="en-US" b="0" dirty="0"/>
              <a:t> will fetch this recording.</a:t>
            </a:r>
          </a:p>
          <a:p>
            <a:r>
              <a:rPr lang="en-US" b="0" dirty="0"/>
              <a:t>3. </a:t>
            </a:r>
            <a:r>
              <a:rPr lang="en-US" b="0" dirty="0" err="1"/>
              <a:t>Streamlit</a:t>
            </a:r>
            <a:r>
              <a:rPr lang="en-US" b="0" dirty="0"/>
              <a:t> UI shows recording in categories, chapters, topics drop down.</a:t>
            </a:r>
          </a:p>
          <a:p>
            <a:r>
              <a:rPr lang="en-US" b="0" dirty="0"/>
              <a:t>4. Transcribes the recording, </a:t>
            </a:r>
            <a:r>
              <a:rPr lang="en-US" b="0" dirty="0" err="1"/>
              <a:t>MoMBot</a:t>
            </a:r>
            <a:r>
              <a:rPr lang="en-US" b="0" dirty="0"/>
              <a:t> performs speech-to-text transcription leveraging </a:t>
            </a:r>
            <a:r>
              <a:rPr lang="en-US" b="0" dirty="0" err="1"/>
              <a:t>AssemblyAI</a:t>
            </a:r>
            <a:r>
              <a:rPr lang="en-US" b="0" dirty="0"/>
              <a:t> APIs</a:t>
            </a:r>
          </a:p>
          <a:p>
            <a:r>
              <a:rPr lang="en-IN" b="0" dirty="0"/>
              <a:t>5. Generates </a:t>
            </a:r>
            <a:r>
              <a:rPr lang="en-IN" dirty="0"/>
              <a:t>smart minutes on GUI </a:t>
            </a:r>
            <a:r>
              <a:rPr lang="en-IN" b="0" dirty="0"/>
              <a:t>which includes text summary, as well as it takes us to the time segment where important point was discussed and can replay from that point in the recording.</a:t>
            </a:r>
          </a:p>
          <a:p>
            <a:r>
              <a:rPr lang="en-US" b="0" dirty="0"/>
              <a:t>6. Email pdf doc with minutes to intended participants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0E22091F-581C-389E-8C66-EC6161D79B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3999" y="114012"/>
            <a:ext cx="6456219" cy="6629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8593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C7BF03-1D8B-491E-841C-52130F7A3E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Future Enhancement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0EAFA5-6327-4271-A3F9-A046FD0C9D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774825-35DB-4612-9712-DA03DBF07B7E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43DA32C-10A3-40DE-B3E0-69B8808312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7348" y="1059748"/>
            <a:ext cx="11244216" cy="496105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Integration with Meeting Apps like MS Teams, Skype, Zoom, google meet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Natural Lang Processing to fetch Action Items accurate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POC and ETA of a task or point discussed and creating a backlog and can enhance to send reminder for task comple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b="0" dirty="0"/>
              <a:t>Performance improvements in case of long meetings using cach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29040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02C9CD-1B5D-4E32-9185-D2BDEE8E63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5774825-35DB-4612-9712-DA03DBF07B7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4A4EE89-1FEA-41E3-B77A-2F726928F0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7347" y="2493818"/>
            <a:ext cx="11220465" cy="1995055"/>
          </a:xfrm>
        </p:spPr>
        <p:txBody>
          <a:bodyPr/>
          <a:lstStyle/>
          <a:p>
            <a:pPr algn="ctr"/>
            <a:r>
              <a:rPr lang="en-IN" sz="6000" dirty="0"/>
              <a:t>Thank You</a:t>
            </a:r>
            <a:endParaRPr lang="en-US" sz="6000" dirty="0"/>
          </a:p>
        </p:txBody>
      </p:sp>
    </p:spTree>
    <p:extLst>
      <p:ext uri="{BB962C8B-B14F-4D97-AF65-F5344CB8AC3E}">
        <p14:creationId xmlns:p14="http://schemas.microsoft.com/office/powerpoint/2010/main" val="8605303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edit Suisse Blue">
  <a:themeElements>
    <a:clrScheme name="Credit Suisse 2022 (blue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002746"/>
      </a:accent1>
      <a:accent2>
        <a:srgbClr val="003868"/>
      </a:accent2>
      <a:accent3>
        <a:srgbClr val="265682"/>
      </a:accent3>
      <a:accent4>
        <a:srgbClr val="507CAB"/>
      </a:accent4>
      <a:accent5>
        <a:srgbClr val="EBAF34"/>
      </a:accent5>
      <a:accent6>
        <a:srgbClr val="F0C352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1" id="{6C2D58E4-8957-4A95-9A2E-B28E6E1DD3B9}" vid="{3BD2CC94-34AD-4240-BAD2-FCAFA7836B40}"/>
    </a:ext>
  </a:extLst>
</a:theme>
</file>

<file path=ppt/theme/theme2.xml><?xml version="1.0" encoding="utf-8"?>
<a:theme xmlns:a="http://schemas.openxmlformats.org/drawingml/2006/main" name=" Credit Suisse Gray">
  <a:themeElements>
    <a:clrScheme name="Credit Suisse 2022 (gray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45464E"/>
      </a:accent1>
      <a:accent2>
        <a:srgbClr val="5D5E66"/>
      </a:accent2>
      <a:accent3>
        <a:srgbClr val="82838C"/>
      </a:accent3>
      <a:accent4>
        <a:srgbClr val="9D9DA7"/>
      </a:accent4>
      <a:accent5>
        <a:srgbClr val="EBAF34"/>
      </a:accent5>
      <a:accent6>
        <a:srgbClr val="F0C352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1" id="{6C2D58E4-8957-4A95-9A2E-B28E6E1DD3B9}" vid="{AC1C89DF-D225-4481-9C17-0C14AC21F896}"/>
    </a:ext>
  </a:extLst>
</a:theme>
</file>

<file path=ppt/theme/theme3.xml><?xml version="1.0" encoding="utf-8"?>
<a:theme xmlns:a="http://schemas.openxmlformats.org/drawingml/2006/main" name=" Credit Suisse Green">
  <a:themeElements>
    <a:clrScheme name="Credit Suisse 2022 (green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1C5038"/>
      </a:accent1>
      <a:accent2>
        <a:srgbClr val="35684F"/>
      </a:accent2>
      <a:accent3>
        <a:srgbClr val="4F8367"/>
      </a:accent3>
      <a:accent4>
        <a:srgbClr val="689C80"/>
      </a:accent4>
      <a:accent5>
        <a:srgbClr val="EBAF34"/>
      </a:accent5>
      <a:accent6>
        <a:srgbClr val="F0C352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1" id="{6C2D58E4-8957-4A95-9A2E-B28E6E1DD3B9}" vid="{FC4FC128-464C-4599-BACD-149C431A559E}"/>
    </a:ext>
  </a:extLst>
</a:theme>
</file>

<file path=ppt/theme/theme4.xml><?xml version="1.0" encoding="utf-8"?>
<a:theme xmlns:a="http://schemas.openxmlformats.org/drawingml/2006/main" name=" Credit Suisse Gold">
  <a:themeElements>
    <a:clrScheme name="Credit Suisse 2022 (gold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B27500"/>
      </a:accent1>
      <a:accent2>
        <a:srgbClr val="C28C00"/>
      </a:accent2>
      <a:accent3>
        <a:srgbClr val="EBAF34"/>
      </a:accent3>
      <a:accent4>
        <a:srgbClr val="F0C352"/>
      </a:accent4>
      <a:accent5>
        <a:srgbClr val="82838C"/>
      </a:accent5>
      <a:accent6>
        <a:srgbClr val="9D9DA7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1" id="{6C2D58E4-8957-4A95-9A2E-B28E6E1DD3B9}" vid="{79827883-AECB-4C06-838D-8A1624C04B8A}"/>
    </a:ext>
  </a:extLst>
</a:theme>
</file>

<file path=ppt/theme/theme5.xml><?xml version="1.0" encoding="utf-8"?>
<a:theme xmlns:a="http://schemas.openxmlformats.org/drawingml/2006/main" name=" Credit Suisse Bronze">
  <a:themeElements>
    <a:clrScheme name="Credit Suisse 2022 (bronze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914927"/>
      </a:accent1>
      <a:accent2>
        <a:srgbClr val="AE623F"/>
      </a:accent2>
      <a:accent3>
        <a:srgbClr val="CB7C56"/>
      </a:accent3>
      <a:accent4>
        <a:srgbClr val="E9966F"/>
      </a:accent4>
      <a:accent5>
        <a:srgbClr val="82838C"/>
      </a:accent5>
      <a:accent6>
        <a:srgbClr val="9D9DA7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1" id="{6C2D58E4-8957-4A95-9A2E-B28E6E1DD3B9}" vid="{38B478B3-1592-43D6-A5FC-6FC7E244CB30}"/>
    </a:ext>
  </a:extLst>
</a:theme>
</file>

<file path=ppt/theme/theme6.xml><?xml version="1.0" encoding="utf-8"?>
<a:theme xmlns:a="http://schemas.openxmlformats.org/drawingml/2006/main" name=" Credit Suisse Red">
  <a:themeElements>
    <a:clrScheme name="Credit Suisse 2022 (red)">
      <a:dk1>
        <a:srgbClr val="000000"/>
      </a:dk1>
      <a:lt1>
        <a:sysClr val="window" lastClr="FFFFFF"/>
      </a:lt1>
      <a:dk2>
        <a:srgbClr val="003868"/>
      </a:dk2>
      <a:lt2>
        <a:srgbClr val="FFFFFF"/>
      </a:lt2>
      <a:accent1>
        <a:srgbClr val="B6413F"/>
      </a:accent1>
      <a:accent2>
        <a:srgbClr val="D45C56"/>
      </a:accent2>
      <a:accent3>
        <a:srgbClr val="F37870"/>
      </a:accent3>
      <a:accent4>
        <a:srgbClr val="FF9A90"/>
      </a:accent4>
      <a:accent5>
        <a:srgbClr val="82838C"/>
      </a:accent5>
      <a:accent6>
        <a:srgbClr val="9D9DA7"/>
      </a:accent6>
      <a:hlink>
        <a:srgbClr val="000000"/>
      </a:hlink>
      <a:folHlink>
        <a:srgbClr val="000000"/>
      </a:folHlink>
    </a:clrScheme>
    <a:fontScheme name="Credit Suisse 2022">
      <a:majorFont>
        <a:latin typeface="Credit Suisse Headline"/>
        <a:ea typeface=""/>
        <a:cs typeface=""/>
      </a:majorFont>
      <a:minorFont>
        <a:latin typeface="Credit Suisse Type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500"/>
          </a:spcBef>
          <a:buFont typeface="Wingdings" panose="05000000000000000000" pitchFamily="2" charset="2"/>
          <a:buChar char="§"/>
          <a:defRPr sz="1600" dirty="0" smtClean="0"/>
        </a:defPPr>
      </a:lstStyle>
    </a:txDef>
  </a:objectDefaults>
  <a:extraClrSchemeLst/>
  <a:custClrLst>
    <a:custClr name="CS Dimmed Blue Dark">
      <a:srgbClr val="4E6177"/>
    </a:custClr>
    <a:custClr name="CS Dimmed Blue Mid">
      <a:srgbClr val="72869D"/>
    </a:custClr>
    <a:custClr name="CS Dimmed Blue Bright">
      <a:srgbClr val="A7BBD4"/>
    </a:custClr>
    <a:custClr name="CS Dimmed Blue Light">
      <a:srgbClr val="D7E4F6"/>
    </a:custClr>
    <a:custClr name="Credit Suisse White">
      <a:srgbClr val="FFFFFF"/>
    </a:custClr>
    <a:custClr name="CS Bold Blue Dark">
      <a:srgbClr val="002746"/>
    </a:custClr>
    <a:custClr name="CS Bold Blue Mid (Credit Suisse Blue)">
      <a:srgbClr val="003868"/>
    </a:custClr>
    <a:custClr name="CS Bold Blue Bright">
      <a:srgbClr val="265682"/>
    </a:custClr>
    <a:custClr name="CS Bold Blue Light">
      <a:srgbClr val="507CAB"/>
    </a:custClr>
    <a:custClr name="Credit Suisse White">
      <a:srgbClr val="FFFFFF"/>
    </a:custClr>
    <a:custClr name="CS Dimmed Gray Dark">
      <a:srgbClr val="82838C"/>
    </a:custClr>
    <a:custClr name="CS Dimmed Green Dark">
      <a:srgbClr val="687C72"/>
    </a:custClr>
    <a:custClr name="CS Dimmed Gold Dark">
      <a:srgbClr val="B79961"/>
    </a:custClr>
    <a:custClr name="CS Dimmed Bronze Dark">
      <a:srgbClr val="C08062"/>
    </a:custClr>
    <a:custClr name="CS Dimmed Red Dark">
      <a:srgbClr val="D7897F"/>
    </a:custClr>
    <a:custClr name="CS Bold Gray Dark">
      <a:srgbClr val="45464E"/>
    </a:custClr>
    <a:custClr name="CS Bold Green Dark">
      <a:srgbClr val="1C5038"/>
    </a:custClr>
    <a:custClr name="CS Bold Gold Dark">
      <a:srgbClr val="B27500"/>
    </a:custClr>
    <a:custClr name="CS Bold Bronze Dark">
      <a:srgbClr val="914927"/>
    </a:custClr>
    <a:custClr name="CS Bold Red Dark">
      <a:srgbClr val="B6413F"/>
    </a:custClr>
    <a:custClr name="CS Dimmed Gray Mid">
      <a:srgbClr val="9D9DA7"/>
    </a:custClr>
    <a:custClr name="CS Dimmed Green Mid">
      <a:srgbClr val="8EA298"/>
    </a:custClr>
    <a:custClr name="CS Dimmed Gold Mid">
      <a:srgbClr val="D0B481"/>
    </a:custClr>
    <a:custClr name="CS Dimmed Bronze Mid">
      <a:srgbClr val="D69E83"/>
    </a:custClr>
    <a:custClr name="CS Dimmed Red Mid">
      <a:srgbClr val="ECA69E"/>
    </a:custClr>
    <a:custClr name="CS Bold Gray Mid">
      <a:srgbClr val="5D5E66"/>
    </a:custClr>
    <a:custClr name="CS Bold Green Mid">
      <a:srgbClr val="35684F"/>
    </a:custClr>
    <a:custClr name="CS Bold Gold Mid">
      <a:srgbClr val="C28C00"/>
    </a:custClr>
    <a:custClr name="CS Bold Bronze Mid">
      <a:srgbClr val="AE623F"/>
    </a:custClr>
    <a:custClr name="CS Bold Red Mid">
      <a:srgbClr val="D45C56"/>
    </a:custClr>
    <a:custClr name="CS Dimmed Gray Bright">
      <a:srgbClr val="C5C6CF"/>
    </a:custClr>
    <a:custClr name="CS Dimmed Green Bright">
      <a:srgbClr val="B7CCC0"/>
    </a:custClr>
    <a:custClr name="CS Dimmed Gold Bright">
      <a:srgbClr val="E5D2AF"/>
    </a:custClr>
    <a:custClr name="CS Dimmed Bronze Bright">
      <a:srgbClr val="E6BDAB"/>
    </a:custClr>
    <a:custClr name="CS Dimmed Red Bright">
      <a:srgbClr val="E3BEB8"/>
    </a:custClr>
    <a:custClr name="CS Bold Gray Bright">
      <a:srgbClr val="82838C"/>
    </a:custClr>
    <a:custClr name="CS Bold Green Bright">
      <a:srgbClr val="4F8367"/>
    </a:custClr>
    <a:custClr name="CS Bold Gold Bright">
      <a:srgbClr val="EBAF34"/>
    </a:custClr>
    <a:custClr name="CS Bold Bronze Bright">
      <a:srgbClr val="CB7C56"/>
    </a:custClr>
    <a:custClr name="CS Bold Red Bright">
      <a:srgbClr val="F37870"/>
    </a:custClr>
    <a:custClr name="CS Dimmed Gray Light">
      <a:srgbClr val="E1E2EC"/>
    </a:custClr>
    <a:custClr name="CS Dimmed Green Light">
      <a:srgbClr val="DAE6DF"/>
    </a:custClr>
    <a:custClr name="CS Dimmed Gold Light">
      <a:srgbClr val="EDE1CF"/>
    </a:custClr>
    <a:custClr name="CS Dimmed Bronze Light">
      <a:srgbClr val="F3DFD4"/>
    </a:custClr>
    <a:custClr name="CS Dimmed Red Light">
      <a:srgbClr val="F7DDDA"/>
    </a:custClr>
    <a:custClr name="CS Bold Gray Light">
      <a:srgbClr val="9D9DA7"/>
    </a:custClr>
    <a:custClr name="CS Bold Green Light">
      <a:srgbClr val="689C80"/>
    </a:custClr>
    <a:custClr name="CS Bold Gold Light">
      <a:srgbClr val="F0C352"/>
    </a:custClr>
    <a:custClr name="CS Bold Bronze Light">
      <a:srgbClr val="E9966F"/>
    </a:custClr>
    <a:custClr name="CS Bold Red Light">
      <a:srgbClr val="FF9A90"/>
    </a:custClr>
  </a:custClrLst>
  <a:extLst>
    <a:ext uri="{05A4C25C-085E-4340-85A3-A5531E510DB2}">
      <thm15:themeFamily xmlns:thm15="http://schemas.microsoft.com/office/thememl/2012/main" name="Presentation1" id="{6C2D58E4-8957-4A95-9A2E-B28E6E1DD3B9}" vid="{C1C342C6-D664-4ED3-88E3-42C22834162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99</TotalTime>
  <Words>410</Words>
  <Application>Microsoft Office PowerPoint</Application>
  <PresentationFormat>Widescreen</PresentationFormat>
  <Paragraphs>57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9" baseType="lpstr">
      <vt:lpstr>Wingdings</vt:lpstr>
      <vt:lpstr>Credit Suisse Headline</vt:lpstr>
      <vt:lpstr>Credit Suisse Type Light</vt:lpstr>
      <vt:lpstr>Arial</vt:lpstr>
      <vt:lpstr>Credit Suisse Type Roman</vt:lpstr>
      <vt:lpstr>Credit Suisse Blue</vt:lpstr>
      <vt:lpstr> Credit Suisse Gray</vt:lpstr>
      <vt:lpstr> Credit Suisse Green</vt:lpstr>
      <vt:lpstr> Credit Suisse Gold</vt:lpstr>
      <vt:lpstr> Credit Suisse Bronze</vt:lpstr>
      <vt:lpstr> Credit Suisse Red</vt:lpstr>
      <vt:lpstr>think-cell Slide</vt:lpstr>
      <vt:lpstr>Automatic Minutes of Meeting - MoMBot</vt:lpstr>
      <vt:lpstr>Bored of manual Minutes of Meeting ??</vt:lpstr>
      <vt:lpstr>Try our MoMBot </vt:lpstr>
      <vt:lpstr>Technology Stack used for MoMBot</vt:lpstr>
      <vt:lpstr>How it works?</vt:lpstr>
      <vt:lpstr>Future Enhancement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nutes of Meeting Bot</dc:title>
  <dc:creator>Kolte, Surabhi A. (MBOJ 816)</dc:creator>
  <cp:lastModifiedBy>Abhijeet Kolte</cp:lastModifiedBy>
  <cp:revision>27</cp:revision>
  <dcterms:created xsi:type="dcterms:W3CDTF">2022-09-19T08:42:57Z</dcterms:created>
  <dcterms:modified xsi:type="dcterms:W3CDTF">2022-09-19T16:2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3732d58-8c18-4bab-8f62-1159a69060e9_Enabled">
    <vt:lpwstr>True</vt:lpwstr>
  </property>
  <property fmtid="{D5CDD505-2E9C-101B-9397-08002B2CF9AE}" pid="3" name="MSIP_Label_f3732d58-8c18-4bab-8f62-1159a69060e9_SiteId">
    <vt:lpwstr>d0df3d96-c065-41c3-8c0b-5dcaa460ec33</vt:lpwstr>
  </property>
  <property fmtid="{D5CDD505-2E9C-101B-9397-08002B2CF9AE}" pid="4" name="MSIP_Label_f3732d58-8c18-4bab-8f62-1159a69060e9_Owner">
    <vt:lpwstr>mark.s.hirst@credit-suisse.com</vt:lpwstr>
  </property>
  <property fmtid="{D5CDD505-2E9C-101B-9397-08002B2CF9AE}" pid="5" name="MSIP_Label_f3732d58-8c18-4bab-8f62-1159a69060e9_SetDate">
    <vt:lpwstr>2022-04-04T13:13:03.3712888Z</vt:lpwstr>
  </property>
  <property fmtid="{D5CDD505-2E9C-101B-9397-08002B2CF9AE}" pid="6" name="MSIP_Label_f3732d58-8c18-4bab-8f62-1159a69060e9_Name">
    <vt:lpwstr>Unrestricted</vt:lpwstr>
  </property>
  <property fmtid="{D5CDD505-2E9C-101B-9397-08002B2CF9AE}" pid="7" name="MSIP_Label_f3732d58-8c18-4bab-8f62-1159a69060e9_Application">
    <vt:lpwstr>Microsoft Azure Information Protection</vt:lpwstr>
  </property>
  <property fmtid="{D5CDD505-2E9C-101B-9397-08002B2CF9AE}" pid="8" name="MSIP_Label_f3732d58-8c18-4bab-8f62-1159a69060e9_ActionId">
    <vt:lpwstr>cdd4ec03-ee88-4f3c-9252-298768d1c3b6</vt:lpwstr>
  </property>
  <property fmtid="{D5CDD505-2E9C-101B-9397-08002B2CF9AE}" pid="9" name="MSIP_Label_f3732d58-8c18-4bab-8f62-1159a69060e9_Extended_MSFT_Method">
    <vt:lpwstr>Manual</vt:lpwstr>
  </property>
  <property fmtid="{D5CDD505-2E9C-101B-9397-08002B2CF9AE}" pid="10" name="Sensitivity">
    <vt:lpwstr>Unrestricted</vt:lpwstr>
  </property>
</Properties>
</file>